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</p:sldMasterIdLst>
  <p:notesMasterIdLst>
    <p:notesMasterId r:id="rId10"/>
  </p:notesMasterIdLst>
  <p:handoutMasterIdLst>
    <p:handoutMasterId r:id="rId11"/>
  </p:handoutMasterIdLst>
  <p:sldIdLst>
    <p:sldId id="393" r:id="rId2"/>
    <p:sldId id="419" r:id="rId3"/>
    <p:sldId id="420" r:id="rId4"/>
    <p:sldId id="422" r:id="rId5"/>
    <p:sldId id="421" r:id="rId6"/>
    <p:sldId id="396" r:id="rId7"/>
    <p:sldId id="273" r:id="rId8"/>
    <p:sldId id="418" r:id="rId9"/>
  </p:sldIdLst>
  <p:sldSz cx="12192000" cy="6858000"/>
  <p:notesSz cx="7315200" cy="96012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2146"/>
    <a:srgbClr val="F86941"/>
    <a:srgbClr val="009EE1"/>
    <a:srgbClr val="00853E"/>
    <a:srgbClr val="E6E6E6"/>
    <a:srgbClr val="EB6543"/>
    <a:srgbClr val="2E6DA5"/>
    <a:srgbClr val="2E2B70"/>
    <a:srgbClr val="0072B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03" autoAdjust="0"/>
    <p:restoredTop sz="94007" autoAdjust="0"/>
  </p:normalViewPr>
  <p:slideViewPr>
    <p:cSldViewPr snapToGrid="0" snapToObjects="1">
      <p:cViewPr varScale="1">
        <p:scale>
          <a:sx n="91" d="100"/>
          <a:sy n="91" d="100"/>
        </p:scale>
        <p:origin x="90" y="120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45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2472" y="90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0611" y="4348915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4264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4524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B494D4A5-F03E-4980-A019-AA2719481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4" b="18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27338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C010C59-D0F4-4FE8-88B7-4FF5E14B06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429139 w 12192000"/>
              <a:gd name="connsiteY0" fmla="*/ 6161467 h 6858000"/>
              <a:gd name="connsiteX1" fmla="*/ 1102568 w 12192000"/>
              <a:gd name="connsiteY1" fmla="*/ 6488038 h 6858000"/>
              <a:gd name="connsiteX2" fmla="*/ 1429139 w 12192000"/>
              <a:gd name="connsiteY2" fmla="*/ 6814609 h 6858000"/>
              <a:gd name="connsiteX3" fmla="*/ 1755710 w 12192000"/>
              <a:gd name="connsiteY3" fmla="*/ 6488038 h 6858000"/>
              <a:gd name="connsiteX4" fmla="*/ 1429139 w 12192000"/>
              <a:gd name="connsiteY4" fmla="*/ 6161467 h 6858000"/>
              <a:gd name="connsiteX5" fmla="*/ 8162314 w 12192000"/>
              <a:gd name="connsiteY5" fmla="*/ 5649061 h 6858000"/>
              <a:gd name="connsiteX6" fmla="*/ 8036905 w 12192000"/>
              <a:gd name="connsiteY6" fmla="*/ 5701007 h 6858000"/>
              <a:gd name="connsiteX7" fmla="*/ 7335995 w 12192000"/>
              <a:gd name="connsiteY7" fmla="*/ 6401917 h 6858000"/>
              <a:gd name="connsiteX8" fmla="*/ 7335995 w 12192000"/>
              <a:gd name="connsiteY8" fmla="*/ 6652735 h 6858000"/>
              <a:gd name="connsiteX9" fmla="*/ 7357954 w 12192000"/>
              <a:gd name="connsiteY9" fmla="*/ 6674694 h 6858000"/>
              <a:gd name="connsiteX10" fmla="*/ 7608772 w 12192000"/>
              <a:gd name="connsiteY10" fmla="*/ 6674694 h 6858000"/>
              <a:gd name="connsiteX11" fmla="*/ 8309682 w 12192000"/>
              <a:gd name="connsiteY11" fmla="*/ 5973784 h 6858000"/>
              <a:gd name="connsiteX12" fmla="*/ 8309682 w 12192000"/>
              <a:gd name="connsiteY12" fmla="*/ 5722966 h 6858000"/>
              <a:gd name="connsiteX13" fmla="*/ 8287723 w 12192000"/>
              <a:gd name="connsiteY13" fmla="*/ 5701007 h 6858000"/>
              <a:gd name="connsiteX14" fmla="*/ 8162314 w 12192000"/>
              <a:gd name="connsiteY14" fmla="*/ 5649061 h 6858000"/>
              <a:gd name="connsiteX15" fmla="*/ 899628 w 12192000"/>
              <a:gd name="connsiteY15" fmla="*/ 5446562 h 6858000"/>
              <a:gd name="connsiteX16" fmla="*/ 573057 w 12192000"/>
              <a:gd name="connsiteY16" fmla="*/ 5773133 h 6858000"/>
              <a:gd name="connsiteX17" fmla="*/ 899628 w 12192000"/>
              <a:gd name="connsiteY17" fmla="*/ 6099704 h 6858000"/>
              <a:gd name="connsiteX18" fmla="*/ 1226199 w 12192000"/>
              <a:gd name="connsiteY18" fmla="*/ 5773133 h 6858000"/>
              <a:gd name="connsiteX19" fmla="*/ 899628 w 12192000"/>
              <a:gd name="connsiteY19" fmla="*/ 5446562 h 6858000"/>
              <a:gd name="connsiteX20" fmla="*/ 370117 w 12192000"/>
              <a:gd name="connsiteY20" fmla="*/ 4731656 h 6858000"/>
              <a:gd name="connsiteX21" fmla="*/ 43547 w 12192000"/>
              <a:gd name="connsiteY21" fmla="*/ 5058227 h 6858000"/>
              <a:gd name="connsiteX22" fmla="*/ 370117 w 12192000"/>
              <a:gd name="connsiteY22" fmla="*/ 5384798 h 6858000"/>
              <a:gd name="connsiteX23" fmla="*/ 696689 w 12192000"/>
              <a:gd name="connsiteY23" fmla="*/ 5058227 h 6858000"/>
              <a:gd name="connsiteX24" fmla="*/ 370117 w 12192000"/>
              <a:gd name="connsiteY24" fmla="*/ 4731656 h 6858000"/>
              <a:gd name="connsiteX25" fmla="*/ 8139025 w 12192000"/>
              <a:gd name="connsiteY25" fmla="*/ 4569563 h 6858000"/>
              <a:gd name="connsiteX26" fmla="*/ 8013616 w 12192000"/>
              <a:gd name="connsiteY26" fmla="*/ 4621508 h 6858000"/>
              <a:gd name="connsiteX27" fmla="*/ 6236292 w 12192000"/>
              <a:gd name="connsiteY27" fmla="*/ 6398833 h 6858000"/>
              <a:gd name="connsiteX28" fmla="*/ 6236292 w 12192000"/>
              <a:gd name="connsiteY28" fmla="*/ 6649651 h 6858000"/>
              <a:gd name="connsiteX29" fmla="*/ 6258251 w 12192000"/>
              <a:gd name="connsiteY29" fmla="*/ 6671610 h 6858000"/>
              <a:gd name="connsiteX30" fmla="*/ 6509069 w 12192000"/>
              <a:gd name="connsiteY30" fmla="*/ 6671610 h 6858000"/>
              <a:gd name="connsiteX31" fmla="*/ 8286393 w 12192000"/>
              <a:gd name="connsiteY31" fmla="*/ 4894285 h 6858000"/>
              <a:gd name="connsiteX32" fmla="*/ 8286393 w 12192000"/>
              <a:gd name="connsiteY32" fmla="*/ 4643467 h 6858000"/>
              <a:gd name="connsiteX33" fmla="*/ 8264434 w 12192000"/>
              <a:gd name="connsiteY33" fmla="*/ 4621508 h 6858000"/>
              <a:gd name="connsiteX34" fmla="*/ 8139025 w 12192000"/>
              <a:gd name="connsiteY34" fmla="*/ 4569563 h 6858000"/>
              <a:gd name="connsiteX35" fmla="*/ 7618325 w 12192000"/>
              <a:gd name="connsiteY35" fmla="*/ 3939483 h 6858000"/>
              <a:gd name="connsiteX36" fmla="*/ 7492916 w 12192000"/>
              <a:gd name="connsiteY36" fmla="*/ 3991429 h 6858000"/>
              <a:gd name="connsiteX37" fmla="*/ 5016683 w 12192000"/>
              <a:gd name="connsiteY37" fmla="*/ 6467663 h 6858000"/>
              <a:gd name="connsiteX38" fmla="*/ 5016683 w 12192000"/>
              <a:gd name="connsiteY38" fmla="*/ 6718481 h 6858000"/>
              <a:gd name="connsiteX39" fmla="*/ 5038642 w 12192000"/>
              <a:gd name="connsiteY39" fmla="*/ 6740440 h 6858000"/>
              <a:gd name="connsiteX40" fmla="*/ 5289460 w 12192000"/>
              <a:gd name="connsiteY40" fmla="*/ 6740440 h 6858000"/>
              <a:gd name="connsiteX41" fmla="*/ 7765693 w 12192000"/>
              <a:gd name="connsiteY41" fmla="*/ 4264206 h 6858000"/>
              <a:gd name="connsiteX42" fmla="*/ 7765693 w 12192000"/>
              <a:gd name="connsiteY42" fmla="*/ 4013388 h 6858000"/>
              <a:gd name="connsiteX43" fmla="*/ 7743734 w 12192000"/>
              <a:gd name="connsiteY43" fmla="*/ 3991429 h 6858000"/>
              <a:gd name="connsiteX44" fmla="*/ 7618325 w 12192000"/>
              <a:gd name="connsiteY44" fmla="*/ 3939483 h 6858000"/>
              <a:gd name="connsiteX45" fmla="*/ 10089754 w 12192000"/>
              <a:gd name="connsiteY45" fmla="*/ 3704146 h 6858000"/>
              <a:gd name="connsiteX46" fmla="*/ 9964345 w 12192000"/>
              <a:gd name="connsiteY46" fmla="*/ 3756091 h 6858000"/>
              <a:gd name="connsiteX47" fmla="*/ 8460165 w 12192000"/>
              <a:gd name="connsiteY47" fmla="*/ 5260272 h 6858000"/>
              <a:gd name="connsiteX48" fmla="*/ 8460165 w 12192000"/>
              <a:gd name="connsiteY48" fmla="*/ 5511090 h 6858000"/>
              <a:gd name="connsiteX49" fmla="*/ 8482124 w 12192000"/>
              <a:gd name="connsiteY49" fmla="*/ 5533049 h 6858000"/>
              <a:gd name="connsiteX50" fmla="*/ 8732942 w 12192000"/>
              <a:gd name="connsiteY50" fmla="*/ 5533049 h 6858000"/>
              <a:gd name="connsiteX51" fmla="*/ 10237122 w 12192000"/>
              <a:gd name="connsiteY51" fmla="*/ 4028868 h 6858000"/>
              <a:gd name="connsiteX52" fmla="*/ 10237122 w 12192000"/>
              <a:gd name="connsiteY52" fmla="*/ 3778051 h 6858000"/>
              <a:gd name="connsiteX53" fmla="*/ 10215163 w 12192000"/>
              <a:gd name="connsiteY53" fmla="*/ 3756091 h 6858000"/>
              <a:gd name="connsiteX54" fmla="*/ 10089754 w 12192000"/>
              <a:gd name="connsiteY54" fmla="*/ 3704146 h 6858000"/>
              <a:gd name="connsiteX55" fmla="*/ 10041065 w 12192000"/>
              <a:gd name="connsiteY55" fmla="*/ 2624647 h 6858000"/>
              <a:gd name="connsiteX56" fmla="*/ 9915656 w 12192000"/>
              <a:gd name="connsiteY56" fmla="*/ 2676593 h 6858000"/>
              <a:gd name="connsiteX57" fmla="*/ 8411476 w 12192000"/>
              <a:gd name="connsiteY57" fmla="*/ 4180773 h 6858000"/>
              <a:gd name="connsiteX58" fmla="*/ 8411476 w 12192000"/>
              <a:gd name="connsiteY58" fmla="*/ 4431591 h 6858000"/>
              <a:gd name="connsiteX59" fmla="*/ 8433435 w 12192000"/>
              <a:gd name="connsiteY59" fmla="*/ 4453550 h 6858000"/>
              <a:gd name="connsiteX60" fmla="*/ 8684253 w 12192000"/>
              <a:gd name="connsiteY60" fmla="*/ 4453550 h 6858000"/>
              <a:gd name="connsiteX61" fmla="*/ 10188433 w 12192000"/>
              <a:gd name="connsiteY61" fmla="*/ 2949370 h 6858000"/>
              <a:gd name="connsiteX62" fmla="*/ 10188433 w 12192000"/>
              <a:gd name="connsiteY62" fmla="*/ 2698552 h 6858000"/>
              <a:gd name="connsiteX63" fmla="*/ 10166474 w 12192000"/>
              <a:gd name="connsiteY63" fmla="*/ 2676593 h 6858000"/>
              <a:gd name="connsiteX64" fmla="*/ 10041065 w 12192000"/>
              <a:gd name="connsiteY64" fmla="*/ 2624647 h 6858000"/>
              <a:gd name="connsiteX65" fmla="*/ 9520364 w 12192000"/>
              <a:gd name="connsiteY65" fmla="*/ 1994569 h 6858000"/>
              <a:gd name="connsiteX66" fmla="*/ 9394955 w 12192000"/>
              <a:gd name="connsiteY66" fmla="*/ 2046515 h 6858000"/>
              <a:gd name="connsiteX67" fmla="*/ 7890775 w 12192000"/>
              <a:gd name="connsiteY67" fmla="*/ 3550695 h 6858000"/>
              <a:gd name="connsiteX68" fmla="*/ 7890775 w 12192000"/>
              <a:gd name="connsiteY68" fmla="*/ 3801513 h 6858000"/>
              <a:gd name="connsiteX69" fmla="*/ 7912734 w 12192000"/>
              <a:gd name="connsiteY69" fmla="*/ 3823472 h 6858000"/>
              <a:gd name="connsiteX70" fmla="*/ 8163552 w 12192000"/>
              <a:gd name="connsiteY70" fmla="*/ 3823472 h 6858000"/>
              <a:gd name="connsiteX71" fmla="*/ 9667732 w 12192000"/>
              <a:gd name="connsiteY71" fmla="*/ 2319292 h 6858000"/>
              <a:gd name="connsiteX72" fmla="*/ 9667732 w 12192000"/>
              <a:gd name="connsiteY72" fmla="*/ 2068475 h 6858000"/>
              <a:gd name="connsiteX73" fmla="*/ 9645773 w 12192000"/>
              <a:gd name="connsiteY73" fmla="*/ 2046515 h 6858000"/>
              <a:gd name="connsiteX74" fmla="*/ 9520364 w 12192000"/>
              <a:gd name="connsiteY74" fmla="*/ 1994569 h 6858000"/>
              <a:gd name="connsiteX75" fmla="*/ 11974643 w 12192000"/>
              <a:gd name="connsiteY75" fmla="*/ 1766977 h 6858000"/>
              <a:gd name="connsiteX76" fmla="*/ 11849234 w 12192000"/>
              <a:gd name="connsiteY76" fmla="*/ 1818923 h 6858000"/>
              <a:gd name="connsiteX77" fmla="*/ 10345054 w 12192000"/>
              <a:gd name="connsiteY77" fmla="*/ 3323103 h 6858000"/>
              <a:gd name="connsiteX78" fmla="*/ 10345054 w 12192000"/>
              <a:gd name="connsiteY78" fmla="*/ 3573920 h 6858000"/>
              <a:gd name="connsiteX79" fmla="*/ 10367013 w 12192000"/>
              <a:gd name="connsiteY79" fmla="*/ 3595879 h 6858000"/>
              <a:gd name="connsiteX80" fmla="*/ 10617831 w 12192000"/>
              <a:gd name="connsiteY80" fmla="*/ 3595879 h 6858000"/>
              <a:gd name="connsiteX81" fmla="*/ 12122011 w 12192000"/>
              <a:gd name="connsiteY81" fmla="*/ 2091700 h 6858000"/>
              <a:gd name="connsiteX82" fmla="*/ 12122011 w 12192000"/>
              <a:gd name="connsiteY82" fmla="*/ 1840882 h 6858000"/>
              <a:gd name="connsiteX83" fmla="*/ 12100052 w 12192000"/>
              <a:gd name="connsiteY83" fmla="*/ 1818923 h 6858000"/>
              <a:gd name="connsiteX84" fmla="*/ 11974643 w 12192000"/>
              <a:gd name="connsiteY84" fmla="*/ 1766977 h 6858000"/>
              <a:gd name="connsiteX85" fmla="*/ 4017223 w 12192000"/>
              <a:gd name="connsiteY85" fmla="*/ 734456 h 6858000"/>
              <a:gd name="connsiteX86" fmla="*/ 3560024 w 12192000"/>
              <a:gd name="connsiteY86" fmla="*/ 1191656 h 6858000"/>
              <a:gd name="connsiteX87" fmla="*/ 4017223 w 12192000"/>
              <a:gd name="connsiteY87" fmla="*/ 1648856 h 6858000"/>
              <a:gd name="connsiteX88" fmla="*/ 4474421 w 12192000"/>
              <a:gd name="connsiteY88" fmla="*/ 1191656 h 6858000"/>
              <a:gd name="connsiteX89" fmla="*/ 5708917 w 12192000"/>
              <a:gd name="connsiteY89" fmla="*/ 734456 h 6858000"/>
              <a:gd name="connsiteX90" fmla="*/ 5251717 w 12192000"/>
              <a:gd name="connsiteY90" fmla="*/ 1191656 h 6858000"/>
              <a:gd name="connsiteX91" fmla="*/ 5708917 w 12192000"/>
              <a:gd name="connsiteY91" fmla="*/ 1648856 h 6858000"/>
              <a:gd name="connsiteX92" fmla="*/ 6166116 w 12192000"/>
              <a:gd name="connsiteY92" fmla="*/ 1191656 h 6858000"/>
              <a:gd name="connsiteX93" fmla="*/ 7400612 w 12192000"/>
              <a:gd name="connsiteY93" fmla="*/ 734455 h 6858000"/>
              <a:gd name="connsiteX94" fmla="*/ 6943412 w 12192000"/>
              <a:gd name="connsiteY94" fmla="*/ 1191656 h 6858000"/>
              <a:gd name="connsiteX95" fmla="*/ 7400612 w 12192000"/>
              <a:gd name="connsiteY95" fmla="*/ 1648856 h 6858000"/>
              <a:gd name="connsiteX96" fmla="*/ 7857812 w 12192000"/>
              <a:gd name="connsiteY96" fmla="*/ 1191656 h 6858000"/>
              <a:gd name="connsiteX97" fmla="*/ 9092308 w 12192000"/>
              <a:gd name="connsiteY97" fmla="*/ 734455 h 6858000"/>
              <a:gd name="connsiteX98" fmla="*/ 8635108 w 12192000"/>
              <a:gd name="connsiteY98" fmla="*/ 1191655 h 6858000"/>
              <a:gd name="connsiteX99" fmla="*/ 9092308 w 12192000"/>
              <a:gd name="connsiteY99" fmla="*/ 1648855 h 6858000"/>
              <a:gd name="connsiteX100" fmla="*/ 9549508 w 12192000"/>
              <a:gd name="connsiteY100" fmla="*/ 1191655 h 6858000"/>
              <a:gd name="connsiteX101" fmla="*/ 11938654 w 12192000"/>
              <a:gd name="connsiteY101" fmla="*/ 725578 h 6858000"/>
              <a:gd name="connsiteX102" fmla="*/ 11813245 w 12192000"/>
              <a:gd name="connsiteY102" fmla="*/ 777523 h 6858000"/>
              <a:gd name="connsiteX103" fmla="*/ 10309065 w 12192000"/>
              <a:gd name="connsiteY103" fmla="*/ 2281704 h 6858000"/>
              <a:gd name="connsiteX104" fmla="*/ 10309065 w 12192000"/>
              <a:gd name="connsiteY104" fmla="*/ 2532522 h 6858000"/>
              <a:gd name="connsiteX105" fmla="*/ 10331024 w 12192000"/>
              <a:gd name="connsiteY105" fmla="*/ 2554481 h 6858000"/>
              <a:gd name="connsiteX106" fmla="*/ 10581842 w 12192000"/>
              <a:gd name="connsiteY106" fmla="*/ 2554481 h 6858000"/>
              <a:gd name="connsiteX107" fmla="*/ 12086022 w 12192000"/>
              <a:gd name="connsiteY107" fmla="*/ 1050300 h 6858000"/>
              <a:gd name="connsiteX108" fmla="*/ 12086022 w 12192000"/>
              <a:gd name="connsiteY108" fmla="*/ 799483 h 6858000"/>
              <a:gd name="connsiteX109" fmla="*/ 12064063 w 12192000"/>
              <a:gd name="connsiteY109" fmla="*/ 777523 h 6858000"/>
              <a:gd name="connsiteX110" fmla="*/ 11938654 w 12192000"/>
              <a:gd name="connsiteY110" fmla="*/ 725578 h 6858000"/>
              <a:gd name="connsiteX111" fmla="*/ 11405253 w 12192000"/>
              <a:gd name="connsiteY111" fmla="*/ 57401 h 6858000"/>
              <a:gd name="connsiteX112" fmla="*/ 11279844 w 12192000"/>
              <a:gd name="connsiteY112" fmla="*/ 109347 h 6858000"/>
              <a:gd name="connsiteX113" fmla="*/ 9775664 w 12192000"/>
              <a:gd name="connsiteY113" fmla="*/ 1613528 h 6858000"/>
              <a:gd name="connsiteX114" fmla="*/ 9775664 w 12192000"/>
              <a:gd name="connsiteY114" fmla="*/ 1864346 h 6858000"/>
              <a:gd name="connsiteX115" fmla="*/ 9797623 w 12192000"/>
              <a:gd name="connsiteY115" fmla="*/ 1886305 h 6858000"/>
              <a:gd name="connsiteX116" fmla="*/ 10048441 w 12192000"/>
              <a:gd name="connsiteY116" fmla="*/ 1886305 h 6858000"/>
              <a:gd name="connsiteX117" fmla="*/ 11552621 w 12192000"/>
              <a:gd name="connsiteY117" fmla="*/ 382124 h 6858000"/>
              <a:gd name="connsiteX118" fmla="*/ 11552621 w 12192000"/>
              <a:gd name="connsiteY118" fmla="*/ 131306 h 6858000"/>
              <a:gd name="connsiteX119" fmla="*/ 11530662 w 12192000"/>
              <a:gd name="connsiteY119" fmla="*/ 109347 h 6858000"/>
              <a:gd name="connsiteX120" fmla="*/ 11405253 w 12192000"/>
              <a:gd name="connsiteY120" fmla="*/ 57401 h 6858000"/>
              <a:gd name="connsiteX121" fmla="*/ 4 w 12192000"/>
              <a:gd name="connsiteY121" fmla="*/ 2 h 6858000"/>
              <a:gd name="connsiteX122" fmla="*/ 4 w 12192000"/>
              <a:gd name="connsiteY122" fmla="*/ 3090502 h 6858000"/>
              <a:gd name="connsiteX123" fmla="*/ 3090503 w 12192000"/>
              <a:gd name="connsiteY123" fmla="*/ 2 h 6858000"/>
              <a:gd name="connsiteX124" fmla="*/ 3171376 w 12192000"/>
              <a:gd name="connsiteY124" fmla="*/ 2 h 6858000"/>
              <a:gd name="connsiteX125" fmla="*/ 2714176 w 12192000"/>
              <a:gd name="connsiteY125" fmla="*/ 457202 h 6858000"/>
              <a:gd name="connsiteX126" fmla="*/ 3171376 w 12192000"/>
              <a:gd name="connsiteY126" fmla="*/ 914402 h 6858000"/>
              <a:gd name="connsiteX127" fmla="*/ 3628576 w 12192000"/>
              <a:gd name="connsiteY127" fmla="*/ 457202 h 6858000"/>
              <a:gd name="connsiteX128" fmla="*/ 4863069 w 12192000"/>
              <a:gd name="connsiteY128" fmla="*/ 2 h 6858000"/>
              <a:gd name="connsiteX129" fmla="*/ 4405869 w 12192000"/>
              <a:gd name="connsiteY129" fmla="*/ 457202 h 6858000"/>
              <a:gd name="connsiteX130" fmla="*/ 4863069 w 12192000"/>
              <a:gd name="connsiteY130" fmla="*/ 914402 h 6858000"/>
              <a:gd name="connsiteX131" fmla="*/ 5320269 w 12192000"/>
              <a:gd name="connsiteY131" fmla="*/ 457202 h 6858000"/>
              <a:gd name="connsiteX132" fmla="*/ 6554764 w 12192000"/>
              <a:gd name="connsiteY132" fmla="*/ 2 h 6858000"/>
              <a:gd name="connsiteX133" fmla="*/ 6097564 w 12192000"/>
              <a:gd name="connsiteY133" fmla="*/ 457201 h 6858000"/>
              <a:gd name="connsiteX134" fmla="*/ 6554764 w 12192000"/>
              <a:gd name="connsiteY134" fmla="*/ 914401 h 6858000"/>
              <a:gd name="connsiteX135" fmla="*/ 7011964 w 12192000"/>
              <a:gd name="connsiteY135" fmla="*/ 457201 h 6858000"/>
              <a:gd name="connsiteX136" fmla="*/ 8246460 w 12192000"/>
              <a:gd name="connsiteY136" fmla="*/ 1 h 6858000"/>
              <a:gd name="connsiteX137" fmla="*/ 7789260 w 12192000"/>
              <a:gd name="connsiteY137" fmla="*/ 457201 h 6858000"/>
              <a:gd name="connsiteX138" fmla="*/ 8246460 w 12192000"/>
              <a:gd name="connsiteY138" fmla="*/ 914401 h 6858000"/>
              <a:gd name="connsiteX139" fmla="*/ 8703660 w 12192000"/>
              <a:gd name="connsiteY139" fmla="*/ 457201 h 6858000"/>
              <a:gd name="connsiteX140" fmla="*/ 9938152 w 12192000"/>
              <a:gd name="connsiteY140" fmla="*/ 1 h 6858000"/>
              <a:gd name="connsiteX141" fmla="*/ 9480952 w 12192000"/>
              <a:gd name="connsiteY141" fmla="*/ 457201 h 6858000"/>
              <a:gd name="connsiteX142" fmla="*/ 9938152 w 12192000"/>
              <a:gd name="connsiteY142" fmla="*/ 914401 h 6858000"/>
              <a:gd name="connsiteX143" fmla="*/ 10395352 w 12192000"/>
              <a:gd name="connsiteY143" fmla="*/ 457201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2431144 h 6858000"/>
              <a:gd name="connsiteX147" fmla="*/ 7765144 w 12192000"/>
              <a:gd name="connsiteY147" fmla="*/ 6858000 h 6858000"/>
              <a:gd name="connsiteX148" fmla="*/ 0 w 12192000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12192000" h="6858000">
                <a:moveTo>
                  <a:pt x="1429139" y="6161467"/>
                </a:moveTo>
                <a:cubicBezTo>
                  <a:pt x="1248779" y="6161467"/>
                  <a:pt x="1102568" y="6307678"/>
                  <a:pt x="1102568" y="6488038"/>
                </a:cubicBezTo>
                <a:cubicBezTo>
                  <a:pt x="1102568" y="6668398"/>
                  <a:pt x="1248779" y="6814609"/>
                  <a:pt x="1429139" y="6814609"/>
                </a:cubicBezTo>
                <a:cubicBezTo>
                  <a:pt x="1609499" y="6814609"/>
                  <a:pt x="1755710" y="6668398"/>
                  <a:pt x="1755710" y="6488038"/>
                </a:cubicBezTo>
                <a:cubicBezTo>
                  <a:pt x="1755710" y="6307678"/>
                  <a:pt x="1609499" y="6161467"/>
                  <a:pt x="1429139" y="6161467"/>
                </a:cubicBezTo>
                <a:close/>
                <a:moveTo>
                  <a:pt x="8162314" y="5649061"/>
                </a:moveTo>
                <a:cubicBezTo>
                  <a:pt x="8116925" y="5649061"/>
                  <a:pt x="8071536" y="5666376"/>
                  <a:pt x="8036905" y="5701007"/>
                </a:cubicBezTo>
                <a:lnTo>
                  <a:pt x="7335995" y="6401917"/>
                </a:lnTo>
                <a:cubicBezTo>
                  <a:pt x="7266734" y="6471179"/>
                  <a:pt x="7266734" y="6583474"/>
                  <a:pt x="7335995" y="6652735"/>
                </a:cubicBezTo>
                <a:lnTo>
                  <a:pt x="7357954" y="6674694"/>
                </a:lnTo>
                <a:cubicBezTo>
                  <a:pt x="7427215" y="6743956"/>
                  <a:pt x="7539511" y="6743956"/>
                  <a:pt x="7608772" y="6674694"/>
                </a:cubicBezTo>
                <a:lnTo>
                  <a:pt x="8309682" y="5973784"/>
                </a:lnTo>
                <a:cubicBezTo>
                  <a:pt x="8378944" y="5904522"/>
                  <a:pt x="8378944" y="5792227"/>
                  <a:pt x="8309682" y="5722966"/>
                </a:cubicBezTo>
                <a:lnTo>
                  <a:pt x="8287723" y="5701007"/>
                </a:lnTo>
                <a:cubicBezTo>
                  <a:pt x="8253093" y="5666376"/>
                  <a:pt x="8207704" y="5649061"/>
                  <a:pt x="8162314" y="5649061"/>
                </a:cubicBezTo>
                <a:close/>
                <a:moveTo>
                  <a:pt x="899628" y="5446562"/>
                </a:moveTo>
                <a:cubicBezTo>
                  <a:pt x="719268" y="5446562"/>
                  <a:pt x="573057" y="5592773"/>
                  <a:pt x="573057" y="5773133"/>
                </a:cubicBezTo>
                <a:cubicBezTo>
                  <a:pt x="573057" y="5953493"/>
                  <a:pt x="719268" y="6099704"/>
                  <a:pt x="899628" y="6099704"/>
                </a:cubicBezTo>
                <a:cubicBezTo>
                  <a:pt x="1079988" y="6099704"/>
                  <a:pt x="1226199" y="5953493"/>
                  <a:pt x="1226199" y="5773133"/>
                </a:cubicBezTo>
                <a:cubicBezTo>
                  <a:pt x="1226199" y="5592773"/>
                  <a:pt x="1079988" y="5446562"/>
                  <a:pt x="899628" y="5446562"/>
                </a:cubicBezTo>
                <a:close/>
                <a:moveTo>
                  <a:pt x="370117" y="4731656"/>
                </a:moveTo>
                <a:cubicBezTo>
                  <a:pt x="189758" y="4731656"/>
                  <a:pt x="43547" y="4877867"/>
                  <a:pt x="43547" y="5058227"/>
                </a:cubicBezTo>
                <a:cubicBezTo>
                  <a:pt x="43547" y="5238587"/>
                  <a:pt x="189758" y="5384798"/>
                  <a:pt x="370117" y="5384798"/>
                </a:cubicBezTo>
                <a:cubicBezTo>
                  <a:pt x="550478" y="5384798"/>
                  <a:pt x="696689" y="5238587"/>
                  <a:pt x="696689" y="5058227"/>
                </a:cubicBezTo>
                <a:cubicBezTo>
                  <a:pt x="696689" y="4877867"/>
                  <a:pt x="550478" y="4731656"/>
                  <a:pt x="370117" y="4731656"/>
                </a:cubicBezTo>
                <a:close/>
                <a:moveTo>
                  <a:pt x="8139025" y="4569563"/>
                </a:moveTo>
                <a:cubicBezTo>
                  <a:pt x="8093636" y="4569563"/>
                  <a:pt x="8048247" y="4586878"/>
                  <a:pt x="8013616" y="4621508"/>
                </a:cubicBezTo>
                <a:lnTo>
                  <a:pt x="6236292" y="6398833"/>
                </a:lnTo>
                <a:cubicBezTo>
                  <a:pt x="6167031" y="6468094"/>
                  <a:pt x="6167031" y="6580390"/>
                  <a:pt x="6236292" y="6649651"/>
                </a:cubicBezTo>
                <a:lnTo>
                  <a:pt x="6258251" y="6671610"/>
                </a:lnTo>
                <a:cubicBezTo>
                  <a:pt x="6327512" y="6740871"/>
                  <a:pt x="6439808" y="6740871"/>
                  <a:pt x="6509069" y="6671610"/>
                </a:cubicBezTo>
                <a:lnTo>
                  <a:pt x="8286393" y="4894285"/>
                </a:lnTo>
                <a:cubicBezTo>
                  <a:pt x="8355654" y="4825024"/>
                  <a:pt x="8355654" y="4712728"/>
                  <a:pt x="8286393" y="4643467"/>
                </a:cubicBezTo>
                <a:lnTo>
                  <a:pt x="8264434" y="4621508"/>
                </a:lnTo>
                <a:cubicBezTo>
                  <a:pt x="8229804" y="4586878"/>
                  <a:pt x="8184415" y="4569563"/>
                  <a:pt x="8139025" y="4569563"/>
                </a:cubicBezTo>
                <a:close/>
                <a:moveTo>
                  <a:pt x="7618325" y="3939483"/>
                </a:moveTo>
                <a:cubicBezTo>
                  <a:pt x="7572936" y="3939483"/>
                  <a:pt x="7527547" y="3956798"/>
                  <a:pt x="7492916" y="3991429"/>
                </a:cubicBezTo>
                <a:lnTo>
                  <a:pt x="5016683" y="6467663"/>
                </a:lnTo>
                <a:cubicBezTo>
                  <a:pt x="4947422" y="6536924"/>
                  <a:pt x="4947422" y="6649220"/>
                  <a:pt x="5016683" y="6718481"/>
                </a:cubicBezTo>
                <a:lnTo>
                  <a:pt x="5038642" y="6740440"/>
                </a:lnTo>
                <a:cubicBezTo>
                  <a:pt x="5107903" y="6809701"/>
                  <a:pt x="5220199" y="6809701"/>
                  <a:pt x="5289460" y="6740440"/>
                </a:cubicBezTo>
                <a:lnTo>
                  <a:pt x="7765693" y="4264206"/>
                </a:lnTo>
                <a:cubicBezTo>
                  <a:pt x="7834954" y="4194945"/>
                  <a:pt x="7834954" y="4082649"/>
                  <a:pt x="7765693" y="4013388"/>
                </a:cubicBezTo>
                <a:lnTo>
                  <a:pt x="7743734" y="3991429"/>
                </a:lnTo>
                <a:cubicBezTo>
                  <a:pt x="7709103" y="3956798"/>
                  <a:pt x="7663714" y="3939483"/>
                  <a:pt x="7618325" y="3939483"/>
                </a:cubicBezTo>
                <a:close/>
                <a:moveTo>
                  <a:pt x="10089754" y="3704146"/>
                </a:moveTo>
                <a:cubicBezTo>
                  <a:pt x="10044365" y="3704146"/>
                  <a:pt x="9998976" y="3721461"/>
                  <a:pt x="9964345" y="3756091"/>
                </a:cubicBezTo>
                <a:lnTo>
                  <a:pt x="8460165" y="5260272"/>
                </a:lnTo>
                <a:cubicBezTo>
                  <a:pt x="8390903" y="5329533"/>
                  <a:pt x="8390903" y="5441829"/>
                  <a:pt x="8460165" y="5511090"/>
                </a:cubicBezTo>
                <a:lnTo>
                  <a:pt x="8482124" y="5533049"/>
                </a:lnTo>
                <a:cubicBezTo>
                  <a:pt x="8551385" y="5602310"/>
                  <a:pt x="8663680" y="5602310"/>
                  <a:pt x="8732942" y="5533049"/>
                </a:cubicBezTo>
                <a:lnTo>
                  <a:pt x="10237122" y="4028868"/>
                </a:lnTo>
                <a:cubicBezTo>
                  <a:pt x="10306384" y="3959607"/>
                  <a:pt x="10306384" y="3847312"/>
                  <a:pt x="10237122" y="3778051"/>
                </a:cubicBezTo>
                <a:lnTo>
                  <a:pt x="10215163" y="3756091"/>
                </a:lnTo>
                <a:cubicBezTo>
                  <a:pt x="10180532" y="3721461"/>
                  <a:pt x="10135144" y="3704146"/>
                  <a:pt x="10089754" y="3704146"/>
                </a:cubicBezTo>
                <a:close/>
                <a:moveTo>
                  <a:pt x="10041065" y="2624647"/>
                </a:moveTo>
                <a:cubicBezTo>
                  <a:pt x="9995676" y="2624647"/>
                  <a:pt x="9950287" y="2641962"/>
                  <a:pt x="9915656" y="2676593"/>
                </a:cubicBezTo>
                <a:lnTo>
                  <a:pt x="8411476" y="4180773"/>
                </a:lnTo>
                <a:cubicBezTo>
                  <a:pt x="8342215" y="4250034"/>
                  <a:pt x="8342215" y="4362330"/>
                  <a:pt x="8411476" y="4431591"/>
                </a:cubicBezTo>
                <a:lnTo>
                  <a:pt x="8433435" y="4453550"/>
                </a:lnTo>
                <a:cubicBezTo>
                  <a:pt x="8502696" y="4522811"/>
                  <a:pt x="8614991" y="4522811"/>
                  <a:pt x="8684253" y="4453550"/>
                </a:cubicBezTo>
                <a:lnTo>
                  <a:pt x="10188433" y="2949370"/>
                </a:lnTo>
                <a:cubicBezTo>
                  <a:pt x="10257695" y="2880109"/>
                  <a:pt x="10257695" y="2767813"/>
                  <a:pt x="10188433" y="2698552"/>
                </a:cubicBezTo>
                <a:lnTo>
                  <a:pt x="10166474" y="2676593"/>
                </a:lnTo>
                <a:cubicBezTo>
                  <a:pt x="10131844" y="2641962"/>
                  <a:pt x="10086454" y="2624647"/>
                  <a:pt x="10041065" y="2624647"/>
                </a:cubicBezTo>
                <a:close/>
                <a:moveTo>
                  <a:pt x="9520364" y="1994569"/>
                </a:moveTo>
                <a:cubicBezTo>
                  <a:pt x="9474975" y="1994569"/>
                  <a:pt x="9429586" y="2011885"/>
                  <a:pt x="9394955" y="2046515"/>
                </a:cubicBezTo>
                <a:lnTo>
                  <a:pt x="7890775" y="3550695"/>
                </a:lnTo>
                <a:cubicBezTo>
                  <a:pt x="7821514" y="3619956"/>
                  <a:pt x="7821514" y="3732252"/>
                  <a:pt x="7890775" y="3801513"/>
                </a:cubicBezTo>
                <a:lnTo>
                  <a:pt x="7912734" y="3823472"/>
                </a:lnTo>
                <a:cubicBezTo>
                  <a:pt x="7981995" y="3892733"/>
                  <a:pt x="8094291" y="3892733"/>
                  <a:pt x="8163552" y="3823472"/>
                </a:cubicBezTo>
                <a:lnTo>
                  <a:pt x="9667732" y="2319292"/>
                </a:lnTo>
                <a:cubicBezTo>
                  <a:pt x="9736994" y="2250031"/>
                  <a:pt x="9736994" y="2137735"/>
                  <a:pt x="9667732" y="2068475"/>
                </a:cubicBezTo>
                <a:lnTo>
                  <a:pt x="9645773" y="2046515"/>
                </a:lnTo>
                <a:cubicBezTo>
                  <a:pt x="9611142" y="2011885"/>
                  <a:pt x="9565753" y="1994569"/>
                  <a:pt x="9520364" y="1994569"/>
                </a:cubicBezTo>
                <a:close/>
                <a:moveTo>
                  <a:pt x="11974643" y="1766977"/>
                </a:moveTo>
                <a:cubicBezTo>
                  <a:pt x="11929254" y="1766977"/>
                  <a:pt x="11883865" y="1784292"/>
                  <a:pt x="11849234" y="1818923"/>
                </a:cubicBezTo>
                <a:lnTo>
                  <a:pt x="10345054" y="3323103"/>
                </a:lnTo>
                <a:cubicBezTo>
                  <a:pt x="10275792" y="3392364"/>
                  <a:pt x="10275792" y="3504659"/>
                  <a:pt x="10345054" y="3573920"/>
                </a:cubicBezTo>
                <a:lnTo>
                  <a:pt x="10367013" y="3595879"/>
                </a:lnTo>
                <a:cubicBezTo>
                  <a:pt x="10436274" y="3665140"/>
                  <a:pt x="10548569" y="3665140"/>
                  <a:pt x="10617831" y="3595879"/>
                </a:cubicBezTo>
                <a:lnTo>
                  <a:pt x="12122011" y="2091700"/>
                </a:lnTo>
                <a:cubicBezTo>
                  <a:pt x="12191273" y="2022439"/>
                  <a:pt x="12191273" y="1910143"/>
                  <a:pt x="12122011" y="1840882"/>
                </a:cubicBezTo>
                <a:lnTo>
                  <a:pt x="12100052" y="1818923"/>
                </a:lnTo>
                <a:cubicBezTo>
                  <a:pt x="12065422" y="1784292"/>
                  <a:pt x="12020032" y="1766977"/>
                  <a:pt x="11974643" y="1766977"/>
                </a:cubicBezTo>
                <a:close/>
                <a:moveTo>
                  <a:pt x="4017223" y="734456"/>
                </a:moveTo>
                <a:lnTo>
                  <a:pt x="3560024" y="1191656"/>
                </a:lnTo>
                <a:lnTo>
                  <a:pt x="4017223" y="1648856"/>
                </a:lnTo>
                <a:lnTo>
                  <a:pt x="4474421" y="1191656"/>
                </a:lnTo>
                <a:close/>
                <a:moveTo>
                  <a:pt x="5708917" y="734456"/>
                </a:moveTo>
                <a:lnTo>
                  <a:pt x="5251717" y="1191656"/>
                </a:lnTo>
                <a:lnTo>
                  <a:pt x="5708917" y="1648856"/>
                </a:lnTo>
                <a:lnTo>
                  <a:pt x="6166116" y="1191656"/>
                </a:lnTo>
                <a:close/>
                <a:moveTo>
                  <a:pt x="7400612" y="734455"/>
                </a:moveTo>
                <a:lnTo>
                  <a:pt x="6943412" y="1191656"/>
                </a:lnTo>
                <a:lnTo>
                  <a:pt x="7400612" y="1648856"/>
                </a:lnTo>
                <a:lnTo>
                  <a:pt x="7857812" y="1191656"/>
                </a:lnTo>
                <a:close/>
                <a:moveTo>
                  <a:pt x="9092308" y="734455"/>
                </a:moveTo>
                <a:lnTo>
                  <a:pt x="8635108" y="1191655"/>
                </a:lnTo>
                <a:lnTo>
                  <a:pt x="9092308" y="1648855"/>
                </a:lnTo>
                <a:lnTo>
                  <a:pt x="9549508" y="1191655"/>
                </a:lnTo>
                <a:close/>
                <a:moveTo>
                  <a:pt x="11938654" y="725578"/>
                </a:moveTo>
                <a:cubicBezTo>
                  <a:pt x="11893265" y="725578"/>
                  <a:pt x="11847876" y="742893"/>
                  <a:pt x="11813245" y="777523"/>
                </a:cubicBezTo>
                <a:lnTo>
                  <a:pt x="10309065" y="2281704"/>
                </a:lnTo>
                <a:cubicBezTo>
                  <a:pt x="10239803" y="2350965"/>
                  <a:pt x="10239803" y="2463261"/>
                  <a:pt x="10309065" y="2532522"/>
                </a:cubicBezTo>
                <a:lnTo>
                  <a:pt x="10331024" y="2554481"/>
                </a:lnTo>
                <a:cubicBezTo>
                  <a:pt x="10400285" y="2623742"/>
                  <a:pt x="10512580" y="2623742"/>
                  <a:pt x="10581842" y="2554481"/>
                </a:cubicBezTo>
                <a:lnTo>
                  <a:pt x="12086022" y="1050300"/>
                </a:lnTo>
                <a:cubicBezTo>
                  <a:pt x="12155284" y="981039"/>
                  <a:pt x="12155284" y="868744"/>
                  <a:pt x="12086022" y="799483"/>
                </a:cubicBezTo>
                <a:lnTo>
                  <a:pt x="12064063" y="777523"/>
                </a:lnTo>
                <a:cubicBezTo>
                  <a:pt x="12029432" y="742893"/>
                  <a:pt x="11984043" y="725578"/>
                  <a:pt x="11938654" y="725578"/>
                </a:cubicBezTo>
                <a:close/>
                <a:moveTo>
                  <a:pt x="11405253" y="57401"/>
                </a:moveTo>
                <a:cubicBezTo>
                  <a:pt x="11359864" y="57401"/>
                  <a:pt x="11314475" y="74716"/>
                  <a:pt x="11279844" y="109347"/>
                </a:cubicBezTo>
                <a:lnTo>
                  <a:pt x="9775664" y="1613528"/>
                </a:lnTo>
                <a:cubicBezTo>
                  <a:pt x="9706402" y="1682789"/>
                  <a:pt x="9706402" y="1795085"/>
                  <a:pt x="9775664" y="1864346"/>
                </a:cubicBezTo>
                <a:lnTo>
                  <a:pt x="9797623" y="1886305"/>
                </a:lnTo>
                <a:cubicBezTo>
                  <a:pt x="9866884" y="1955566"/>
                  <a:pt x="9979179" y="1955566"/>
                  <a:pt x="10048441" y="1886305"/>
                </a:cubicBezTo>
                <a:lnTo>
                  <a:pt x="11552621" y="382124"/>
                </a:lnTo>
                <a:cubicBezTo>
                  <a:pt x="11621883" y="312862"/>
                  <a:pt x="11621883" y="200567"/>
                  <a:pt x="11552621" y="131306"/>
                </a:cubicBezTo>
                <a:lnTo>
                  <a:pt x="11530662" y="109347"/>
                </a:lnTo>
                <a:cubicBezTo>
                  <a:pt x="11496032" y="74716"/>
                  <a:pt x="11450643" y="57401"/>
                  <a:pt x="11405253" y="57401"/>
                </a:cubicBezTo>
                <a:close/>
                <a:moveTo>
                  <a:pt x="4" y="2"/>
                </a:moveTo>
                <a:lnTo>
                  <a:pt x="4" y="3090502"/>
                </a:lnTo>
                <a:lnTo>
                  <a:pt x="3090503" y="2"/>
                </a:lnTo>
                <a:close/>
                <a:moveTo>
                  <a:pt x="3171376" y="2"/>
                </a:moveTo>
                <a:lnTo>
                  <a:pt x="2714176" y="457202"/>
                </a:lnTo>
                <a:lnTo>
                  <a:pt x="3171376" y="914402"/>
                </a:lnTo>
                <a:lnTo>
                  <a:pt x="3628576" y="457202"/>
                </a:lnTo>
                <a:close/>
                <a:moveTo>
                  <a:pt x="4863069" y="2"/>
                </a:moveTo>
                <a:lnTo>
                  <a:pt x="4405869" y="457202"/>
                </a:lnTo>
                <a:lnTo>
                  <a:pt x="4863069" y="914402"/>
                </a:lnTo>
                <a:lnTo>
                  <a:pt x="5320269" y="457202"/>
                </a:lnTo>
                <a:close/>
                <a:moveTo>
                  <a:pt x="6554764" y="2"/>
                </a:moveTo>
                <a:lnTo>
                  <a:pt x="6097564" y="457201"/>
                </a:lnTo>
                <a:lnTo>
                  <a:pt x="6554764" y="914401"/>
                </a:lnTo>
                <a:lnTo>
                  <a:pt x="7011964" y="457201"/>
                </a:lnTo>
                <a:close/>
                <a:moveTo>
                  <a:pt x="8246460" y="1"/>
                </a:moveTo>
                <a:lnTo>
                  <a:pt x="7789260" y="457201"/>
                </a:lnTo>
                <a:lnTo>
                  <a:pt x="8246460" y="914401"/>
                </a:lnTo>
                <a:lnTo>
                  <a:pt x="8703660" y="457201"/>
                </a:lnTo>
                <a:close/>
                <a:moveTo>
                  <a:pt x="9938152" y="1"/>
                </a:moveTo>
                <a:lnTo>
                  <a:pt x="9480952" y="457201"/>
                </a:lnTo>
                <a:lnTo>
                  <a:pt x="9938152" y="914401"/>
                </a:lnTo>
                <a:lnTo>
                  <a:pt x="10395352" y="457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431144"/>
                </a:lnTo>
                <a:lnTo>
                  <a:pt x="776514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674ABF8-EAD4-4410-8CCD-477D276B43F4}"/>
              </a:ext>
            </a:extLst>
          </p:cNvPr>
          <p:cNvSpPr/>
          <p:nvPr userDrawn="1"/>
        </p:nvSpPr>
        <p:spPr>
          <a:xfrm>
            <a:off x="-3410" y="2450947"/>
            <a:ext cx="6607408" cy="2237168"/>
          </a:xfrm>
          <a:custGeom>
            <a:avLst/>
            <a:gdLst>
              <a:gd name="connsiteX0" fmla="*/ 643965 w 6607408"/>
              <a:gd name="connsiteY0" fmla="*/ 0 h 2237168"/>
              <a:gd name="connsiteX1" fmla="*/ 6607408 w 6607408"/>
              <a:gd name="connsiteY1" fmla="*/ 0 h 2237168"/>
              <a:gd name="connsiteX2" fmla="*/ 6607408 w 6607408"/>
              <a:gd name="connsiteY2" fmla="*/ 2237167 h 2237168"/>
              <a:gd name="connsiteX3" fmla="*/ 643965 w 6607408"/>
              <a:gd name="connsiteY3" fmla="*/ 2237167 h 2237168"/>
              <a:gd name="connsiteX4" fmla="*/ 643965 w 6607408"/>
              <a:gd name="connsiteY4" fmla="*/ 2237168 h 2237168"/>
              <a:gd name="connsiteX5" fmla="*/ 7730 w 6607408"/>
              <a:gd name="connsiteY5" fmla="*/ 2237168 h 2237168"/>
              <a:gd name="connsiteX6" fmla="*/ 7730 w 6607408"/>
              <a:gd name="connsiteY6" fmla="*/ 655216 h 2237168"/>
              <a:gd name="connsiteX7" fmla="*/ 0 w 6607408"/>
              <a:gd name="connsiteY7" fmla="*/ 647509 h 2237168"/>
              <a:gd name="connsiteX8" fmla="*/ 7730 w 6607408"/>
              <a:gd name="connsiteY8" fmla="*/ 639757 h 2237168"/>
              <a:gd name="connsiteX9" fmla="*/ 7730 w 6607408"/>
              <a:gd name="connsiteY9" fmla="*/ 635076 h 2237168"/>
              <a:gd name="connsiteX10" fmla="*/ 12397 w 6607408"/>
              <a:gd name="connsiteY10" fmla="*/ 635076 h 2237168"/>
              <a:gd name="connsiteX11" fmla="*/ 643965 w 6607408"/>
              <a:gd name="connsiteY11" fmla="*/ 1687 h 2237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7408" h="2237168">
                <a:moveTo>
                  <a:pt x="643965" y="0"/>
                </a:moveTo>
                <a:lnTo>
                  <a:pt x="6607408" y="0"/>
                </a:lnTo>
                <a:lnTo>
                  <a:pt x="6607408" y="2237167"/>
                </a:lnTo>
                <a:lnTo>
                  <a:pt x="643965" y="2237167"/>
                </a:lnTo>
                <a:lnTo>
                  <a:pt x="643965" y="2237168"/>
                </a:lnTo>
                <a:lnTo>
                  <a:pt x="7730" y="2237168"/>
                </a:lnTo>
                <a:lnTo>
                  <a:pt x="7730" y="655216"/>
                </a:lnTo>
                <a:lnTo>
                  <a:pt x="0" y="647509"/>
                </a:lnTo>
                <a:lnTo>
                  <a:pt x="7730" y="639757"/>
                </a:lnTo>
                <a:lnTo>
                  <a:pt x="7730" y="635076"/>
                </a:lnTo>
                <a:lnTo>
                  <a:pt x="12397" y="635076"/>
                </a:lnTo>
                <a:lnTo>
                  <a:pt x="643965" y="1687"/>
                </a:lnTo>
                <a:close/>
              </a:path>
            </a:pathLst>
          </a:cu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339912" y="2601085"/>
            <a:ext cx="6859208" cy="707886"/>
          </a:xfrm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39912" y="4237381"/>
            <a:ext cx="6859208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EDIT SUBTITLE</a:t>
            </a:r>
            <a:endParaRPr lang="en-US" dirty="0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339397" y="3407037"/>
            <a:ext cx="6841373" cy="43088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i="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042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8" y="1260375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C377F9-FA26-4D7D-8C15-5737D034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6227" y="230314"/>
            <a:ext cx="7665776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EAE418-52E2-4DE7-A31D-BA3FF67BE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6227" y="843417"/>
            <a:ext cx="7665776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612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55FD07-32D4-4A25-A7A2-13926211B7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187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F7B841-B016-4EA6-B35A-56DF9234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E848E19-DAF4-49BB-B133-74C5F04FFF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2567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8914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52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02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AB6AC99-4036-4871-B44A-163F75919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5219700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06BEB1-554E-441B-8143-1262D1DD21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52196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A28A75D-08F0-4C74-9485-2A3A830F97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5907473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230315"/>
            <a:ext cx="6620744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D9C7A-5BAD-4769-A6FA-F5D17B27AC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7" y="843417"/>
            <a:ext cx="6620744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4118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199086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560FEA-821F-4038-85D3-E058A399F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63246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95859B5-3F97-4723-B598-3A1EF775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63245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633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520E70-36CD-4E32-AE3C-099453DA94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17BA9-FFD5-4DCB-B777-D7785D2DC3F8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6915C1-CEB5-4922-B5BA-23A23FCBC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129F31-F472-4D68-8454-5E545D6C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3F1A2D-1369-48E2-9076-9AD4D5807E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67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87135972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37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3900" y="230315"/>
            <a:ext cx="10820400" cy="584775"/>
          </a:xfrm>
          <a:prstGeom prst="rect">
            <a:avLst/>
          </a:prstGeom>
          <a:extLst/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4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/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95" r:id="rId2"/>
    <p:sldLayoutId id="2147483674" r:id="rId3"/>
    <p:sldLayoutId id="2147483693" r:id="rId4"/>
    <p:sldLayoutId id="2147483670" r:id="rId5"/>
    <p:sldLayoutId id="2147483690" r:id="rId6"/>
    <p:sldLayoutId id="2147483691" r:id="rId7"/>
    <p:sldLayoutId id="2147483692" r:id="rId8"/>
    <p:sldLayoutId id="2147483713" r:id="rId9"/>
  </p:sldLayoutIdLst>
  <p:hf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lang="en-US" sz="3200" b="1" kern="0" baseline="0" noProof="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36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3C93CB1-E54B-4CBB-B908-61F0DBCB68DC}"/>
              </a:ext>
            </a:extLst>
          </p:cNvPr>
          <p:cNvSpPr/>
          <p:nvPr/>
        </p:nvSpPr>
        <p:spPr>
          <a:xfrm>
            <a:off x="6366139" y="3620190"/>
            <a:ext cx="4387781" cy="3237810"/>
          </a:xfrm>
          <a:prstGeom prst="triangle">
            <a:avLst/>
          </a:prstGeom>
          <a:solidFill>
            <a:srgbClr val="009EE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768D9E06-35BB-44D6-AA4E-4A122F5CCE2D}"/>
              </a:ext>
            </a:extLst>
          </p:cNvPr>
          <p:cNvSpPr/>
          <p:nvPr/>
        </p:nvSpPr>
        <p:spPr>
          <a:xfrm>
            <a:off x="-3073637" y="2528718"/>
            <a:ext cx="5866910" cy="4329282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272DCCE5-82ED-40AB-B635-3F2CEBDDE18D}"/>
              </a:ext>
            </a:extLst>
          </p:cNvPr>
          <p:cNvSpPr/>
          <p:nvPr/>
        </p:nvSpPr>
        <p:spPr>
          <a:xfrm rot="10800000">
            <a:off x="6096000" y="-4405"/>
            <a:ext cx="6217025" cy="4587637"/>
          </a:xfrm>
          <a:prstGeom prst="triangle">
            <a:avLst/>
          </a:prstGeom>
          <a:solidFill>
            <a:srgbClr val="3521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6E121B4-983D-45E9-B113-36ACF06F55B0}"/>
              </a:ext>
            </a:extLst>
          </p:cNvPr>
          <p:cNvSpPr/>
          <p:nvPr/>
        </p:nvSpPr>
        <p:spPr>
          <a:xfrm rot="10800000">
            <a:off x="5356283" y="0"/>
            <a:ext cx="9429195" cy="10520696"/>
          </a:xfrm>
          <a:custGeom>
            <a:avLst/>
            <a:gdLst>
              <a:gd name="connsiteX0" fmla="*/ 897 w 9429195"/>
              <a:gd name="connsiteY0" fmla="*/ 6896100 h 10520696"/>
              <a:gd name="connsiteX1" fmla="*/ 0 w 9429195"/>
              <a:gd name="connsiteY1" fmla="*/ 6896100 h 10520696"/>
              <a:gd name="connsiteX2" fmla="*/ 2452986 w 9429195"/>
              <a:gd name="connsiteY2" fmla="*/ 3275910 h 10520696"/>
              <a:gd name="connsiteX3" fmla="*/ 2453883 w 9429195"/>
              <a:gd name="connsiteY3" fmla="*/ 3275910 h 10520696"/>
              <a:gd name="connsiteX4" fmla="*/ 2465031 w 9429195"/>
              <a:gd name="connsiteY4" fmla="*/ 10520696 h 10520696"/>
              <a:gd name="connsiteX5" fmla="*/ 2464134 w 9429195"/>
              <a:gd name="connsiteY5" fmla="*/ 10520696 h 10520696"/>
              <a:gd name="connsiteX6" fmla="*/ 4917120 w 9429195"/>
              <a:gd name="connsiteY6" fmla="*/ 6900506 h 10520696"/>
              <a:gd name="connsiteX7" fmla="*/ 4918017 w 9429195"/>
              <a:gd name="connsiteY7" fmla="*/ 6900506 h 10520696"/>
              <a:gd name="connsiteX8" fmla="*/ 9429195 w 9429195"/>
              <a:gd name="connsiteY8" fmla="*/ 10520696 h 10520696"/>
              <a:gd name="connsiteX9" fmla="*/ 8682056 w 9429195"/>
              <a:gd name="connsiteY9" fmla="*/ 10520696 h 10520696"/>
              <a:gd name="connsiteX10" fmla="*/ 6226085 w 9429195"/>
              <a:gd name="connsiteY10" fmla="*/ 6896100 h 10520696"/>
              <a:gd name="connsiteX11" fmla="*/ 6217922 w 9429195"/>
              <a:gd name="connsiteY11" fmla="*/ 6896100 h 10520696"/>
              <a:gd name="connsiteX12" fmla="*/ 3109410 w 9429195"/>
              <a:gd name="connsiteY12" fmla="*/ 2308463 h 10520696"/>
              <a:gd name="connsiteX13" fmla="*/ 3108185 w 9429195"/>
              <a:gd name="connsiteY13" fmla="*/ 2310271 h 10520696"/>
              <a:gd name="connsiteX14" fmla="*/ 1542781 w 9429195"/>
              <a:gd name="connsiteY14" fmla="*/ 0 h 10520696"/>
              <a:gd name="connsiteX15" fmla="*/ 2281046 w 9429195"/>
              <a:gd name="connsiteY15" fmla="*/ 0 h 10520696"/>
              <a:gd name="connsiteX16" fmla="*/ 3476869 w 9429195"/>
              <a:gd name="connsiteY16" fmla="*/ 1764832 h 10520696"/>
              <a:gd name="connsiteX17" fmla="*/ 3482531 w 9429195"/>
              <a:gd name="connsiteY17" fmla="*/ 1756476 h 10520696"/>
              <a:gd name="connsiteX18" fmla="*/ 5942583 w 9429195"/>
              <a:gd name="connsiteY18" fmla="*/ 5387096 h 10520696"/>
              <a:gd name="connsiteX19" fmla="*/ 5946665 w 9429195"/>
              <a:gd name="connsiteY19" fmla="*/ 5381072 h 1052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29195" h="10520696">
                <a:moveTo>
                  <a:pt x="897" y="6896100"/>
                </a:moveTo>
                <a:lnTo>
                  <a:pt x="0" y="6896100"/>
                </a:lnTo>
                <a:lnTo>
                  <a:pt x="2452986" y="3275910"/>
                </a:lnTo>
                <a:lnTo>
                  <a:pt x="2453883" y="3275910"/>
                </a:lnTo>
                <a:close/>
                <a:moveTo>
                  <a:pt x="2465031" y="10520696"/>
                </a:moveTo>
                <a:lnTo>
                  <a:pt x="2464134" y="10520696"/>
                </a:lnTo>
                <a:lnTo>
                  <a:pt x="4917120" y="6900506"/>
                </a:lnTo>
                <a:lnTo>
                  <a:pt x="4918017" y="6900506"/>
                </a:lnTo>
                <a:close/>
                <a:moveTo>
                  <a:pt x="9429195" y="10520696"/>
                </a:moveTo>
                <a:lnTo>
                  <a:pt x="8682056" y="10520696"/>
                </a:lnTo>
                <a:lnTo>
                  <a:pt x="6226085" y="6896100"/>
                </a:lnTo>
                <a:lnTo>
                  <a:pt x="6217922" y="6896100"/>
                </a:lnTo>
                <a:lnTo>
                  <a:pt x="3109410" y="2308463"/>
                </a:lnTo>
                <a:lnTo>
                  <a:pt x="3108185" y="2310271"/>
                </a:lnTo>
                <a:lnTo>
                  <a:pt x="1542781" y="0"/>
                </a:lnTo>
                <a:lnTo>
                  <a:pt x="2281046" y="0"/>
                </a:lnTo>
                <a:lnTo>
                  <a:pt x="3476869" y="1764832"/>
                </a:lnTo>
                <a:lnTo>
                  <a:pt x="3482531" y="1756476"/>
                </a:lnTo>
                <a:lnTo>
                  <a:pt x="5942583" y="5387096"/>
                </a:lnTo>
                <a:lnTo>
                  <a:pt x="5946665" y="5381072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DF4DDF27-E3AE-4FDA-9A66-7C95955FE16E}"/>
              </a:ext>
            </a:extLst>
          </p:cNvPr>
          <p:cNvSpPr txBox="1">
            <a:spLocks/>
          </p:cNvSpPr>
          <p:nvPr/>
        </p:nvSpPr>
        <p:spPr>
          <a:xfrm>
            <a:off x="328413" y="1250585"/>
            <a:ext cx="8231616" cy="707886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4400" dirty="0">
                <a:solidFill>
                  <a:srgbClr val="009EE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EAM</a:t>
            </a:r>
          </a:p>
          <a:p>
            <a:r>
              <a:rPr lang="en-GB" sz="4400" dirty="0">
                <a:solidFill>
                  <a:srgbClr val="009EE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INEAR DIGRESSOR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47D4ECEE-A0E7-41B0-ABFD-0920356FB106}"/>
              </a:ext>
            </a:extLst>
          </p:cNvPr>
          <p:cNvSpPr txBox="1">
            <a:spLocks/>
          </p:cNvSpPr>
          <p:nvPr/>
        </p:nvSpPr>
        <p:spPr>
          <a:xfrm>
            <a:off x="1822234" y="2957997"/>
            <a:ext cx="5834108" cy="1625236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IN" sz="6000" kern="0" dirty="0">
                <a:solidFill>
                  <a:srgbClr val="00853E"/>
                </a:solidFill>
                <a:latin typeface="BwModelicaSS01-BoldCondensed" panose="00000806000000000000" pitchFamily="2" charset="0"/>
              </a:rPr>
              <a:t>UNT HACKATHON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36EDA263-0083-49CE-82CA-70184DA49DBB}"/>
              </a:ext>
            </a:extLst>
          </p:cNvPr>
          <p:cNvSpPr/>
          <p:nvPr/>
        </p:nvSpPr>
        <p:spPr>
          <a:xfrm rot="5400000">
            <a:off x="1372730" y="3281802"/>
            <a:ext cx="350163" cy="274423"/>
          </a:xfrm>
          <a:prstGeom prst="triangle">
            <a:avLst/>
          </a:prstGeom>
          <a:solidFill>
            <a:srgbClr val="0085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pic>
        <p:nvPicPr>
          <p:cNvPr id="163842" name="Picture 2" descr="Image result for university of texas at dallas logo">
            <a:extLst>
              <a:ext uri="{FF2B5EF4-FFF2-40B4-BE49-F238E27FC236}">
                <a16:creationId xmlns:a16="http://schemas.microsoft.com/office/drawing/2014/main" id="{CF6990AB-DC8B-4A07-921B-56C69BBA1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7588" y="-97712"/>
            <a:ext cx="3258441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9763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9" grpId="0" animBg="1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2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E46418F8-5FB5-460A-9EC4-89F8ECBC2213}"/>
              </a:ext>
            </a:extLst>
          </p:cNvPr>
          <p:cNvSpPr txBox="1">
            <a:spLocks/>
          </p:cNvSpPr>
          <p:nvPr/>
        </p:nvSpPr>
        <p:spPr>
          <a:xfrm>
            <a:off x="1369568" y="2212848"/>
            <a:ext cx="9452864" cy="2432304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66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USING </a:t>
            </a:r>
            <a:r>
              <a:rPr lang="en-US" sz="6600" dirty="0">
                <a:solidFill>
                  <a:srgbClr val="F86941"/>
                </a:solidFill>
                <a:latin typeface="BwModelica-BlackCondensed" panose="00000A06000000000000" pitchFamily="2" charset="0"/>
              </a:rPr>
              <a:t>TECHNOLOGY</a:t>
            </a:r>
            <a:r>
              <a:rPr lang="en-US" sz="66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 TO IMPROVE </a:t>
            </a:r>
            <a:r>
              <a:rPr lang="en-US" sz="6600" dirty="0">
                <a:solidFill>
                  <a:srgbClr val="F86941"/>
                </a:solidFill>
                <a:latin typeface="BwModelica-BlackCondensed" panose="00000A06000000000000" pitchFamily="2" charset="0"/>
              </a:rPr>
              <a:t>ACCESSIBILITY</a:t>
            </a:r>
            <a:endParaRPr lang="en-GB" sz="6600" dirty="0">
              <a:solidFill>
                <a:schemeClr val="bg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6E9B2DEF-2D14-4CA0-9EDA-2B8415DE7D33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20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EAM</a:t>
            </a:r>
          </a:p>
          <a:p>
            <a:pPr algn="ctr"/>
            <a:r>
              <a:rPr lang="en-GB" sz="2000" dirty="0">
                <a:solidFill>
                  <a:srgbClr val="F8694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INEAR DIGRESSORS</a:t>
            </a:r>
          </a:p>
        </p:txBody>
      </p:sp>
    </p:spTree>
    <p:extLst>
      <p:ext uri="{BB962C8B-B14F-4D97-AF65-F5344CB8AC3E}">
        <p14:creationId xmlns:p14="http://schemas.microsoft.com/office/powerpoint/2010/main" val="12701176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E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E46418F8-5FB5-460A-9EC4-89F8ECBC2213}"/>
              </a:ext>
            </a:extLst>
          </p:cNvPr>
          <p:cNvSpPr txBox="1">
            <a:spLocks/>
          </p:cNvSpPr>
          <p:nvPr/>
        </p:nvSpPr>
        <p:spPr>
          <a:xfrm>
            <a:off x="2065776" y="1910991"/>
            <a:ext cx="8060445" cy="2164588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7200" dirty="0">
                <a:solidFill>
                  <a:srgbClr val="352146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SIGN LANGUAGE INTERPRETER</a:t>
            </a:r>
            <a:endParaRPr lang="en-GB" sz="7200" dirty="0">
              <a:solidFill>
                <a:srgbClr val="352146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6E9B2DEF-2D14-4CA0-9EDA-2B8415DE7D33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20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EAM</a:t>
            </a:r>
          </a:p>
          <a:p>
            <a:pPr algn="ctr"/>
            <a:r>
              <a:rPr lang="en-GB" sz="2000" dirty="0">
                <a:solidFill>
                  <a:srgbClr val="352146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INEAR DIGRESSORS</a:t>
            </a:r>
          </a:p>
        </p:txBody>
      </p:sp>
    </p:spTree>
    <p:extLst>
      <p:ext uri="{BB962C8B-B14F-4D97-AF65-F5344CB8AC3E}">
        <p14:creationId xmlns:p14="http://schemas.microsoft.com/office/powerpoint/2010/main" val="1344816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2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E46418F8-5FB5-460A-9EC4-89F8ECBC2213}"/>
              </a:ext>
            </a:extLst>
          </p:cNvPr>
          <p:cNvSpPr txBox="1">
            <a:spLocks/>
          </p:cNvSpPr>
          <p:nvPr/>
        </p:nvSpPr>
        <p:spPr>
          <a:xfrm>
            <a:off x="3679444" y="54864"/>
            <a:ext cx="4833112" cy="1216152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66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REASONS</a:t>
            </a:r>
            <a:endParaRPr lang="en-GB" sz="6600" dirty="0">
              <a:solidFill>
                <a:schemeClr val="bg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6E9B2DEF-2D14-4CA0-9EDA-2B8415DE7D33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20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EAM</a:t>
            </a:r>
          </a:p>
          <a:p>
            <a:pPr algn="ctr"/>
            <a:r>
              <a:rPr lang="en-GB" sz="2000" dirty="0">
                <a:solidFill>
                  <a:srgbClr val="F8694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INEAR DIGRESSO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6CF3A4B-A708-4BC6-B53A-2CA45FBB477E}"/>
              </a:ext>
            </a:extLst>
          </p:cNvPr>
          <p:cNvSpPr/>
          <p:nvPr/>
        </p:nvSpPr>
        <p:spPr>
          <a:xfrm>
            <a:off x="958594" y="1480017"/>
            <a:ext cx="1073658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3800">
              <a:buFont typeface="Arial" panose="020B0604020202020204" pitchFamily="34" charset="0"/>
              <a:buChar char="•"/>
              <a:tabLst>
                <a:tab pos="275436" algn="l"/>
              </a:tabLst>
            </a:pPr>
            <a:r>
              <a:rPr lang="en-US" sz="2800" b="1" kern="0" dirty="0">
                <a:solidFill>
                  <a:srgbClr val="F86941"/>
                </a:solidFill>
                <a:latin typeface="BwModelicaSS01-BoldCondensed" panose="00000806000000000000" pitchFamily="2" charset="0"/>
              </a:rPr>
              <a:t>1 Million</a:t>
            </a:r>
            <a:r>
              <a:rPr lang="en-US" sz="2800" b="1" kern="0" dirty="0">
                <a:solidFill>
                  <a:schemeClr val="bg1"/>
                </a:solidFill>
                <a:latin typeface="BwModelicaSS01-BoldCondensed" panose="00000806000000000000" pitchFamily="2" charset="0"/>
              </a:rPr>
              <a:t> Deaf people who use American Sign Language as their primary language.</a:t>
            </a:r>
          </a:p>
          <a:p>
            <a:pPr marL="285750" indent="-285750" defTabSz="913800">
              <a:buFont typeface="Arial" panose="020B0604020202020204" pitchFamily="34" charset="0"/>
              <a:buChar char="•"/>
              <a:tabLst>
                <a:tab pos="275436" algn="l"/>
              </a:tabLst>
            </a:pPr>
            <a:r>
              <a:rPr lang="en-US" sz="2800" b="1" kern="0" dirty="0">
                <a:solidFill>
                  <a:srgbClr val="F86941"/>
                </a:solidFill>
                <a:latin typeface="BwModelicaSS01-BoldCondensed" panose="00000806000000000000" pitchFamily="2" charset="0"/>
              </a:rPr>
              <a:t>30 Million </a:t>
            </a:r>
            <a:r>
              <a:rPr lang="en-US" sz="2800" b="1" kern="0" dirty="0">
                <a:solidFill>
                  <a:schemeClr val="bg1"/>
                </a:solidFill>
                <a:latin typeface="BwModelicaSS01-BoldCondensed" panose="00000806000000000000" pitchFamily="2" charset="0"/>
              </a:rPr>
              <a:t>Americans hear at 40 decibels (dB) or higher. “Normal” hearing ranges from 0 to 20 </a:t>
            </a:r>
            <a:r>
              <a:rPr lang="en-US" sz="2800" b="1" kern="0" dirty="0" err="1">
                <a:solidFill>
                  <a:schemeClr val="bg1"/>
                </a:solidFill>
                <a:latin typeface="BwModelicaSS01-BoldCondensed" panose="00000806000000000000" pitchFamily="2" charset="0"/>
              </a:rPr>
              <a:t>dB.</a:t>
            </a:r>
            <a:endParaRPr lang="en-US" sz="2800" b="1" kern="0" dirty="0">
              <a:solidFill>
                <a:schemeClr val="bg1"/>
              </a:solidFill>
              <a:latin typeface="BwModelicaSS01-BoldCondensed" panose="00000806000000000000" pitchFamily="2" charset="0"/>
            </a:endParaRPr>
          </a:p>
          <a:p>
            <a:pPr marL="285750" indent="-285750" defTabSz="913800">
              <a:buFont typeface="Arial" panose="020B0604020202020204" pitchFamily="34" charset="0"/>
              <a:buChar char="•"/>
              <a:tabLst>
                <a:tab pos="275436" algn="l"/>
              </a:tabLst>
            </a:pPr>
            <a:r>
              <a:rPr lang="en-US" sz="2800" b="1" kern="0" dirty="0">
                <a:solidFill>
                  <a:srgbClr val="F86941"/>
                </a:solidFill>
                <a:latin typeface="BwModelicaSS01-BoldCondensed" panose="00000806000000000000" pitchFamily="2" charset="0"/>
              </a:rPr>
              <a:t>70 Million </a:t>
            </a:r>
            <a:r>
              <a:rPr lang="en-US" sz="2800" b="1" kern="0" dirty="0">
                <a:solidFill>
                  <a:schemeClr val="bg1"/>
                </a:solidFill>
                <a:latin typeface="BwModelicaSS01-BoldCondensed" panose="00000806000000000000" pitchFamily="2" charset="0"/>
              </a:rPr>
              <a:t>Deaf people around the world use sign language</a:t>
            </a:r>
          </a:p>
          <a:p>
            <a:pPr marL="285750" indent="-285750" defTabSz="913800">
              <a:buFont typeface="Arial" panose="020B0604020202020204" pitchFamily="34" charset="0"/>
              <a:buChar char="•"/>
              <a:tabLst>
                <a:tab pos="275436" algn="l"/>
              </a:tabLst>
            </a:pPr>
            <a:r>
              <a:rPr lang="en-US" sz="2800" b="1" kern="0" dirty="0">
                <a:solidFill>
                  <a:srgbClr val="F86941"/>
                </a:solidFill>
                <a:latin typeface="BwModelicaSS01-BoldCondensed" panose="00000806000000000000" pitchFamily="2" charset="0"/>
              </a:rPr>
              <a:t>98% </a:t>
            </a:r>
            <a:r>
              <a:rPr lang="en-US" sz="2800" b="1" kern="0" dirty="0">
                <a:solidFill>
                  <a:schemeClr val="bg1"/>
                </a:solidFill>
                <a:latin typeface="BwModelicaSS01-BoldCondensed" panose="00000806000000000000" pitchFamily="2" charset="0"/>
              </a:rPr>
              <a:t>of Deaf people this world do not receive education in sign language.</a:t>
            </a:r>
          </a:p>
          <a:p>
            <a:pPr marL="285750" indent="-285750" defTabSz="913800">
              <a:buFont typeface="Arial" panose="020B0604020202020204" pitchFamily="34" charset="0"/>
              <a:buChar char="•"/>
              <a:tabLst>
                <a:tab pos="275436" algn="l"/>
              </a:tabLst>
            </a:pPr>
            <a:r>
              <a:rPr lang="en-US" sz="2800" b="1" kern="0" dirty="0">
                <a:solidFill>
                  <a:srgbClr val="F86941"/>
                </a:solidFill>
                <a:latin typeface="BwModelicaSS01-BoldCondensed" panose="00000806000000000000" pitchFamily="2" charset="0"/>
              </a:rPr>
              <a:t>72% </a:t>
            </a:r>
            <a:r>
              <a:rPr lang="en-US" sz="2800" b="1" kern="0" dirty="0">
                <a:solidFill>
                  <a:schemeClr val="bg1"/>
                </a:solidFill>
                <a:latin typeface="BwModelicaSS01-BoldCondensed" panose="00000806000000000000" pitchFamily="2" charset="0"/>
              </a:rPr>
              <a:t>of families do not sign with their Deaf children.</a:t>
            </a:r>
          </a:p>
          <a:p>
            <a:pPr marL="285750" indent="-285750" defTabSz="913800">
              <a:buFont typeface="Arial" panose="020B0604020202020204" pitchFamily="34" charset="0"/>
              <a:buChar char="•"/>
              <a:tabLst>
                <a:tab pos="275436" algn="l"/>
              </a:tabLst>
            </a:pPr>
            <a:r>
              <a:rPr lang="en-US" sz="2800" b="1" kern="0" dirty="0">
                <a:solidFill>
                  <a:srgbClr val="F86941"/>
                </a:solidFill>
                <a:latin typeface="BwModelicaSS01-BoldCondensed" panose="00000806000000000000" pitchFamily="2" charset="0"/>
              </a:rPr>
              <a:t>70%</a:t>
            </a:r>
            <a:r>
              <a:rPr lang="en-US" sz="2800" b="1" kern="0" dirty="0">
                <a:solidFill>
                  <a:schemeClr val="bg1"/>
                </a:solidFill>
                <a:latin typeface="BwModelicaSS01-BoldCondensed" panose="00000806000000000000" pitchFamily="2" charset="0"/>
              </a:rPr>
              <a:t> of Deaf people don’t work or are underemployed.</a:t>
            </a:r>
          </a:p>
          <a:p>
            <a:pPr marL="285750" indent="-285750" defTabSz="913800">
              <a:buFont typeface="Arial" panose="020B0604020202020204" pitchFamily="34" charset="0"/>
              <a:buChar char="•"/>
              <a:tabLst>
                <a:tab pos="275436" algn="l"/>
              </a:tabLst>
            </a:pPr>
            <a:r>
              <a:rPr lang="en-US" sz="2800" b="1" kern="0" dirty="0">
                <a:solidFill>
                  <a:srgbClr val="F86941"/>
                </a:solidFill>
                <a:latin typeface="BwModelicaSS01-BoldCondensed" panose="00000806000000000000" pitchFamily="2" charset="0"/>
              </a:rPr>
              <a:t>1 in 4 </a:t>
            </a:r>
            <a:r>
              <a:rPr lang="en-US" sz="2800" b="1" kern="0" dirty="0">
                <a:solidFill>
                  <a:schemeClr val="bg1"/>
                </a:solidFill>
                <a:latin typeface="BwModelicaSS01-BoldCondensed" panose="00000806000000000000" pitchFamily="2" charset="0"/>
              </a:rPr>
              <a:t>Deaf people have quit a job due to discrimination.</a:t>
            </a:r>
          </a:p>
        </p:txBody>
      </p:sp>
    </p:spTree>
    <p:extLst>
      <p:ext uri="{BB962C8B-B14F-4D97-AF65-F5344CB8AC3E}">
        <p14:creationId xmlns:p14="http://schemas.microsoft.com/office/powerpoint/2010/main" val="3413444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69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17A1052E-4FFE-43EB-9BDF-7E2300051786}"/>
              </a:ext>
            </a:extLst>
          </p:cNvPr>
          <p:cNvSpPr txBox="1">
            <a:spLocks/>
          </p:cNvSpPr>
          <p:nvPr/>
        </p:nvSpPr>
        <p:spPr>
          <a:xfrm>
            <a:off x="2292867" y="2448909"/>
            <a:ext cx="7606266" cy="1313373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6600" dirty="0">
                <a:solidFill>
                  <a:srgbClr val="352146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PRODUCT DEMO</a:t>
            </a:r>
            <a:endParaRPr lang="en-GB" sz="6600" dirty="0">
              <a:solidFill>
                <a:srgbClr val="352146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8FA952E8-ACDB-4704-A4E1-34711DCEFDE4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20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EAM</a:t>
            </a:r>
          </a:p>
          <a:p>
            <a:pPr algn="ctr"/>
            <a:r>
              <a:rPr lang="en-GB" sz="2000" dirty="0">
                <a:solidFill>
                  <a:srgbClr val="352146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INEAR DIGRESSORS</a:t>
            </a:r>
          </a:p>
        </p:txBody>
      </p:sp>
    </p:spTree>
    <p:extLst>
      <p:ext uri="{BB962C8B-B14F-4D97-AF65-F5344CB8AC3E}">
        <p14:creationId xmlns:p14="http://schemas.microsoft.com/office/powerpoint/2010/main" val="35750405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E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D214D2-87AE-4A6A-B291-0727B4985A77}"/>
              </a:ext>
            </a:extLst>
          </p:cNvPr>
          <p:cNvSpPr txBox="1">
            <a:spLocks/>
          </p:cNvSpPr>
          <p:nvPr/>
        </p:nvSpPr>
        <p:spPr>
          <a:xfrm>
            <a:off x="1027580" y="923068"/>
            <a:ext cx="5860750" cy="1849564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6600" b="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PROJECT</a:t>
            </a:r>
            <a:r>
              <a:rPr lang="en-GB" sz="6600" b="0" dirty="0">
                <a:solidFill>
                  <a:srgbClr val="2E2B70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6600" b="0" dirty="0">
                <a:solidFill>
                  <a:srgbClr val="352146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OUTLINE </a:t>
            </a:r>
            <a:r>
              <a:rPr lang="en-GB" sz="6600" b="0" dirty="0">
                <a:solidFill>
                  <a:srgbClr val="2E2B70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156501-6C5A-4DBF-A2D9-17778902F247}"/>
              </a:ext>
            </a:extLst>
          </p:cNvPr>
          <p:cNvSpPr/>
          <p:nvPr/>
        </p:nvSpPr>
        <p:spPr>
          <a:xfrm>
            <a:off x="6012182" y="2727"/>
            <a:ext cx="6179818" cy="6858000"/>
          </a:xfrm>
          <a:prstGeom prst="rect">
            <a:avLst/>
          </a:prstGeom>
          <a:solidFill>
            <a:srgbClr val="3521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6EE50A67-4C47-4512-BAB5-446D489160AF}"/>
              </a:ext>
            </a:extLst>
          </p:cNvPr>
          <p:cNvSpPr txBox="1">
            <a:spLocks/>
          </p:cNvSpPr>
          <p:nvPr/>
        </p:nvSpPr>
        <p:spPr>
          <a:xfrm>
            <a:off x="7853936" y="893043"/>
            <a:ext cx="3310483" cy="393891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DATA CREATION</a:t>
            </a:r>
            <a:endParaRPr lang="en-GB" sz="28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55C290DF-9C0D-4A39-90B1-DE8651B9B785}"/>
              </a:ext>
            </a:extLst>
          </p:cNvPr>
          <p:cNvSpPr txBox="1">
            <a:spLocks/>
          </p:cNvSpPr>
          <p:nvPr/>
        </p:nvSpPr>
        <p:spPr>
          <a:xfrm>
            <a:off x="7853937" y="2681371"/>
            <a:ext cx="3037832" cy="886412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dirty="0">
                <a:solidFill>
                  <a:schemeClr val="bg1"/>
                </a:solidFill>
                <a:latin typeface="BwModelica-BlackCondensed" panose="00000A06000000000000" pitchFamily="2" charset="0"/>
              </a:rPr>
              <a:t>DATA</a:t>
            </a:r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2800" dirty="0">
                <a:solidFill>
                  <a:schemeClr val="bg1"/>
                </a:solidFill>
                <a:latin typeface="BwModelica-BlackCondensed" panose="00000A06000000000000" pitchFamily="2" charset="0"/>
              </a:rPr>
              <a:t>PREPARATION</a:t>
            </a: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130DCD25-6F1B-420D-8F17-29A0B1E19168}"/>
              </a:ext>
            </a:extLst>
          </p:cNvPr>
          <p:cNvSpPr txBox="1">
            <a:spLocks/>
          </p:cNvSpPr>
          <p:nvPr/>
        </p:nvSpPr>
        <p:spPr>
          <a:xfrm>
            <a:off x="7853936" y="4741110"/>
            <a:ext cx="3549169" cy="490816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dirty="0">
                <a:solidFill>
                  <a:schemeClr val="bg1"/>
                </a:solidFill>
                <a:latin typeface="BwModelica-BlackCondensed" panose="00000A06000000000000" pitchFamily="2" charset="0"/>
              </a:rPr>
              <a:t>DEEP</a:t>
            </a:r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2800" dirty="0">
                <a:solidFill>
                  <a:schemeClr val="bg1"/>
                </a:solidFill>
                <a:latin typeface="BwModelica-BlackCondensed" panose="00000A06000000000000" pitchFamily="2" charset="0"/>
              </a:rPr>
              <a:t>LEARNING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97A40572-9926-43BB-9232-553559D030CE}"/>
              </a:ext>
            </a:extLst>
          </p:cNvPr>
          <p:cNvSpPr txBox="1">
            <a:spLocks/>
          </p:cNvSpPr>
          <p:nvPr/>
        </p:nvSpPr>
        <p:spPr>
          <a:xfrm>
            <a:off x="1081405" y="3510696"/>
            <a:ext cx="4057512" cy="626914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1800" b="0" dirty="0">
                <a:solidFill>
                  <a:schemeClr val="bg1"/>
                </a:solidFill>
                <a:latin typeface="BwModelica-RegularCondensed" panose="000006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STEPS WE TOOK TO SOLVE THE PROBLEM AND MAKE AN AWESOME MODEL</a:t>
            </a:r>
            <a:endParaRPr lang="en-GB" sz="1800" b="0" dirty="0">
              <a:solidFill>
                <a:srgbClr val="2E2B70"/>
              </a:solidFill>
              <a:latin typeface="BwModelica-RegularCondensed" panose="000006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3F4A1512-1C06-48EF-B8DE-8C68CD0F8987}"/>
              </a:ext>
            </a:extLst>
          </p:cNvPr>
          <p:cNvSpPr txBox="1">
            <a:spLocks/>
          </p:cNvSpPr>
          <p:nvPr/>
        </p:nvSpPr>
        <p:spPr>
          <a:xfrm>
            <a:off x="7857007" y="973477"/>
            <a:ext cx="4057512" cy="626914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1600" b="0" dirty="0">
                <a:solidFill>
                  <a:schemeClr val="bg1"/>
                </a:solidFill>
                <a:latin typeface="BwModelica-RegularCondensed" panose="000006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SAMPLE DATA CREATION</a:t>
            </a:r>
            <a:endParaRPr lang="en-GB" sz="1600" b="0" dirty="0">
              <a:solidFill>
                <a:srgbClr val="2E2B70"/>
              </a:solidFill>
              <a:latin typeface="BwModelica-RegularCondensed" panose="000006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itle 6">
            <a:extLst>
              <a:ext uri="{FF2B5EF4-FFF2-40B4-BE49-F238E27FC236}">
                <a16:creationId xmlns:a16="http://schemas.microsoft.com/office/drawing/2014/main" id="{5A5E501E-AF93-4005-A814-88C3D6EBA202}"/>
              </a:ext>
            </a:extLst>
          </p:cNvPr>
          <p:cNvSpPr txBox="1">
            <a:spLocks/>
          </p:cNvSpPr>
          <p:nvPr/>
        </p:nvSpPr>
        <p:spPr>
          <a:xfrm>
            <a:off x="7853936" y="5458875"/>
            <a:ext cx="3704372" cy="393892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defTabSz="913800" eaLnBrk="1" hangingPunct="1">
              <a:tabLst>
                <a:tab pos="275436" algn="l"/>
              </a:tabLst>
              <a:defRPr sz="1600" b="0" kern="0" baseline="0">
                <a:solidFill>
                  <a:schemeClr val="bg1"/>
                </a:solidFill>
                <a:latin typeface="BwModelica-RegularCondensed" panose="00000606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defTabSz="913800" eaLnBrk="1" hangingPunct="1">
              <a:defRPr sz="1940" b="1">
                <a:solidFill>
                  <a:schemeClr val="tx2"/>
                </a:solidFill>
              </a:defRPr>
            </a:lvl2pPr>
            <a:lvl3pPr defTabSz="913800" eaLnBrk="1" hangingPunct="1">
              <a:defRPr sz="1940" b="1">
                <a:solidFill>
                  <a:schemeClr val="tx2"/>
                </a:solidFill>
              </a:defRPr>
            </a:lvl3pPr>
            <a:lvl4pPr defTabSz="913800" eaLnBrk="1" hangingPunct="1">
              <a:defRPr sz="1940" b="1">
                <a:solidFill>
                  <a:schemeClr val="tx2"/>
                </a:solidFill>
              </a:defRPr>
            </a:lvl4pPr>
            <a:lvl5pPr defTabSz="913800" eaLnBrk="1" hangingPunct="1">
              <a:defRPr sz="1940" b="1">
                <a:solidFill>
                  <a:schemeClr val="tx2"/>
                </a:solidFill>
              </a:defRPr>
            </a:lvl5pPr>
            <a:lvl6pPr marL="466621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6pPr>
            <a:lvl7pPr marL="933242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7pPr>
            <a:lvl8pPr marL="1399863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8pPr>
            <a:lvl9pPr marL="1866485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CONVOLUTIONAL NEURAL NETWORK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2922AD7-B28F-4446-B127-EB8D90587A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19946" y="729870"/>
            <a:ext cx="914400" cy="914400"/>
          </a:xfrm>
          <a:prstGeom prst="rect">
            <a:avLst/>
          </a:prstGeom>
        </p:spPr>
      </p:pic>
      <p:sp>
        <p:nvSpPr>
          <p:cNvPr id="19" name="Title 6">
            <a:extLst>
              <a:ext uri="{FF2B5EF4-FFF2-40B4-BE49-F238E27FC236}">
                <a16:creationId xmlns:a16="http://schemas.microsoft.com/office/drawing/2014/main" id="{B2C692C4-3302-4053-B6F5-0BFF55FFBB70}"/>
              </a:ext>
            </a:extLst>
          </p:cNvPr>
          <p:cNvSpPr txBox="1">
            <a:spLocks/>
          </p:cNvSpPr>
          <p:nvPr/>
        </p:nvSpPr>
        <p:spPr>
          <a:xfrm>
            <a:off x="7857007" y="3216176"/>
            <a:ext cx="4057512" cy="626914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defTabSz="913800" eaLnBrk="1" hangingPunct="1">
              <a:tabLst>
                <a:tab pos="275436" algn="l"/>
              </a:tabLst>
              <a:defRPr sz="1600" b="0" kern="0" baseline="0">
                <a:solidFill>
                  <a:schemeClr val="bg1"/>
                </a:solidFill>
                <a:latin typeface="BwModelica-RegularCondensed" panose="00000606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defTabSz="913800" eaLnBrk="1" hangingPunct="1">
              <a:defRPr sz="1940" b="1">
                <a:solidFill>
                  <a:schemeClr val="tx2"/>
                </a:solidFill>
              </a:defRPr>
            </a:lvl2pPr>
            <a:lvl3pPr defTabSz="913800" eaLnBrk="1" hangingPunct="1">
              <a:defRPr sz="1940" b="1">
                <a:solidFill>
                  <a:schemeClr val="tx2"/>
                </a:solidFill>
              </a:defRPr>
            </a:lvl3pPr>
            <a:lvl4pPr defTabSz="913800" eaLnBrk="1" hangingPunct="1">
              <a:defRPr sz="1940" b="1">
                <a:solidFill>
                  <a:schemeClr val="tx2"/>
                </a:solidFill>
              </a:defRPr>
            </a:lvl4pPr>
            <a:lvl5pPr defTabSz="913800" eaLnBrk="1" hangingPunct="1">
              <a:defRPr sz="1940" b="1">
                <a:solidFill>
                  <a:schemeClr val="tx2"/>
                </a:solidFill>
              </a:defRPr>
            </a:lvl5pPr>
            <a:lvl6pPr marL="466621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6pPr>
            <a:lvl7pPr marL="933242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7pPr>
            <a:lvl8pPr marL="1399863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8pPr>
            <a:lvl9pPr marL="1866485" defTabSz="913800" fontAlgn="base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DATA LABELING, DATA FLIPPING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A80BEE-BAC5-44E7-BE5E-7964C5C4206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09287" y="2794158"/>
            <a:ext cx="914400" cy="9144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CC608FC-D6A5-4C95-A183-AE5B28B74BC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62055" y="477472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7354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2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59">
            <a:extLst>
              <a:ext uri="{FF2B5EF4-FFF2-40B4-BE49-F238E27FC236}">
                <a16:creationId xmlns:a16="http://schemas.microsoft.com/office/drawing/2014/main" id="{754FA468-F669-43EF-8ACF-49FE9B729769}"/>
              </a:ext>
            </a:extLst>
          </p:cNvPr>
          <p:cNvSpPr txBox="1"/>
          <p:nvPr/>
        </p:nvSpPr>
        <p:spPr>
          <a:xfrm>
            <a:off x="7816855" y="1568669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DEPLOYING API USING CLOUD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8F3D1E7-A87B-496F-8D7A-60B01E0F5BE0}"/>
              </a:ext>
            </a:extLst>
          </p:cNvPr>
          <p:cNvSpPr txBox="1"/>
          <p:nvPr/>
        </p:nvSpPr>
        <p:spPr>
          <a:xfrm>
            <a:off x="8121650" y="5488074"/>
            <a:ext cx="2937088" cy="46166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MAKE IT SMART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134099B-334A-4F56-8789-0D14CB844461}"/>
              </a:ext>
            </a:extLst>
          </p:cNvPr>
          <p:cNvSpPr txBox="1"/>
          <p:nvPr/>
        </p:nvSpPr>
        <p:spPr>
          <a:xfrm>
            <a:off x="615378" y="2885940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DIFFERENT SIGN LANGUAGES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3AEFDCE-57DA-469E-97A9-F0CC6615D751}"/>
              </a:ext>
            </a:extLst>
          </p:cNvPr>
          <p:cNvSpPr txBox="1"/>
          <p:nvPr/>
        </p:nvSpPr>
        <p:spPr>
          <a:xfrm>
            <a:off x="1534627" y="5379354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WO WAY COMMUNICATION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CA8F4B3-AAF5-41BB-9629-BF5557F2D25D}"/>
              </a:ext>
            </a:extLst>
          </p:cNvPr>
          <p:cNvSpPr txBox="1"/>
          <p:nvPr/>
        </p:nvSpPr>
        <p:spPr>
          <a:xfrm>
            <a:off x="8798591" y="3162582"/>
            <a:ext cx="3180060" cy="46166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MORE VOCABULARY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4AEFB5E-5CBB-462C-B114-CD2D8545D05C}"/>
              </a:ext>
            </a:extLst>
          </p:cNvPr>
          <p:cNvSpPr>
            <a:spLocks/>
          </p:cNvSpPr>
          <p:nvPr/>
        </p:nvSpPr>
        <p:spPr bwMode="auto">
          <a:xfrm>
            <a:off x="5819775" y="4028885"/>
            <a:ext cx="2012951" cy="2045818"/>
          </a:xfrm>
          <a:custGeom>
            <a:avLst/>
            <a:gdLst>
              <a:gd name="connsiteX0" fmla="*/ 910680 w 2012951"/>
              <a:gd name="connsiteY0" fmla="*/ 0 h 2045818"/>
              <a:gd name="connsiteX1" fmla="*/ 982663 w 2012951"/>
              <a:gd name="connsiteY1" fmla="*/ 23377 h 2045818"/>
              <a:gd name="connsiteX2" fmla="*/ 972609 w 2012951"/>
              <a:gd name="connsiteY2" fmla="*/ 51460 h 2045818"/>
              <a:gd name="connsiteX3" fmla="*/ 949855 w 2012951"/>
              <a:gd name="connsiteY3" fmla="*/ 105507 h 2045818"/>
              <a:gd name="connsiteX4" fmla="*/ 923396 w 2012951"/>
              <a:gd name="connsiteY4" fmla="*/ 158494 h 2045818"/>
              <a:gd name="connsiteX5" fmla="*/ 893930 w 2012951"/>
              <a:gd name="connsiteY5" fmla="*/ 205806 h 2045818"/>
              <a:gd name="connsiteX6" fmla="*/ 912572 w 2012951"/>
              <a:gd name="connsiteY6" fmla="*/ 244790 h 2045818"/>
              <a:gd name="connsiteX7" fmla="*/ 1001014 w 2012951"/>
              <a:gd name="connsiteY7" fmla="*/ 408362 h 2045818"/>
              <a:gd name="connsiteX8" fmla="*/ 1132042 w 2012951"/>
              <a:gd name="connsiteY8" fmla="*/ 631324 h 2045818"/>
              <a:gd name="connsiteX9" fmla="*/ 1251712 w 2012951"/>
              <a:gd name="connsiteY9" fmla="*/ 563093 h 2045818"/>
              <a:gd name="connsiteX10" fmla="*/ 1272358 w 2012951"/>
              <a:gd name="connsiteY10" fmla="*/ 551981 h 2045818"/>
              <a:gd name="connsiteX11" fmla="*/ 1315767 w 2012951"/>
              <a:gd name="connsiteY11" fmla="*/ 540868 h 2045818"/>
              <a:gd name="connsiteX12" fmla="*/ 1361293 w 2012951"/>
              <a:gd name="connsiteY12" fmla="*/ 541397 h 2045818"/>
              <a:gd name="connsiteX13" fmla="*/ 1404701 w 2012951"/>
              <a:gd name="connsiteY13" fmla="*/ 553039 h 2045818"/>
              <a:gd name="connsiteX14" fmla="*/ 1425347 w 2012951"/>
              <a:gd name="connsiteY14" fmla="*/ 563622 h 2045818"/>
              <a:gd name="connsiteX15" fmla="*/ 1926134 w 2012951"/>
              <a:gd name="connsiteY15" fmla="*/ 855722 h 2045818"/>
              <a:gd name="connsiteX16" fmla="*/ 1945721 w 2012951"/>
              <a:gd name="connsiteY16" fmla="*/ 868422 h 2045818"/>
              <a:gd name="connsiteX17" fmla="*/ 1978013 w 2012951"/>
              <a:gd name="connsiteY17" fmla="*/ 900702 h 2045818"/>
              <a:gd name="connsiteX18" fmla="*/ 1999717 w 2012951"/>
              <a:gd name="connsiteY18" fmla="*/ 939860 h 2045818"/>
              <a:gd name="connsiteX19" fmla="*/ 2011363 w 2012951"/>
              <a:gd name="connsiteY19" fmla="*/ 983781 h 2045818"/>
              <a:gd name="connsiteX20" fmla="*/ 2012951 w 2012951"/>
              <a:gd name="connsiteY20" fmla="*/ 1006535 h 2045818"/>
              <a:gd name="connsiteX21" fmla="*/ 2009775 w 2012951"/>
              <a:gd name="connsiteY21" fmla="*/ 1585972 h 2045818"/>
              <a:gd name="connsiteX22" fmla="*/ 2008187 w 2012951"/>
              <a:gd name="connsiteY22" fmla="*/ 1608727 h 2045818"/>
              <a:gd name="connsiteX23" fmla="*/ 1997070 w 2012951"/>
              <a:gd name="connsiteY23" fmla="*/ 1653177 h 2045818"/>
              <a:gd name="connsiteX24" fmla="*/ 1973778 w 2012951"/>
              <a:gd name="connsiteY24" fmla="*/ 1691806 h 2045818"/>
              <a:gd name="connsiteX25" fmla="*/ 1940956 w 2012951"/>
              <a:gd name="connsiteY25" fmla="*/ 1724085 h 2045818"/>
              <a:gd name="connsiteX26" fmla="*/ 1921899 w 2012951"/>
              <a:gd name="connsiteY26" fmla="*/ 1736256 h 2045818"/>
              <a:gd name="connsiteX27" fmla="*/ 1418465 w 2012951"/>
              <a:gd name="connsiteY27" fmla="*/ 2024122 h 2045818"/>
              <a:gd name="connsiteX28" fmla="*/ 1397819 w 2012951"/>
              <a:gd name="connsiteY28" fmla="*/ 2033647 h 2045818"/>
              <a:gd name="connsiteX29" fmla="*/ 1353881 w 2012951"/>
              <a:gd name="connsiteY29" fmla="*/ 2045818 h 2045818"/>
              <a:gd name="connsiteX30" fmla="*/ 1308885 w 2012951"/>
              <a:gd name="connsiteY30" fmla="*/ 2045289 h 2045818"/>
              <a:gd name="connsiteX31" fmla="*/ 1265476 w 2012951"/>
              <a:gd name="connsiteY31" fmla="*/ 2033647 h 2045818"/>
              <a:gd name="connsiteX32" fmla="*/ 1244831 w 2012951"/>
              <a:gd name="connsiteY32" fmla="*/ 2022535 h 2045818"/>
              <a:gd name="connsiteX33" fmla="*/ 744043 w 2012951"/>
              <a:gd name="connsiteY33" fmla="*/ 1730964 h 2045818"/>
              <a:gd name="connsiteX34" fmla="*/ 724457 w 2012951"/>
              <a:gd name="connsiteY34" fmla="*/ 1718793 h 2045818"/>
              <a:gd name="connsiteX35" fmla="*/ 692165 w 2012951"/>
              <a:gd name="connsiteY35" fmla="*/ 1685985 h 2045818"/>
              <a:gd name="connsiteX36" fmla="*/ 669931 w 2012951"/>
              <a:gd name="connsiteY36" fmla="*/ 1646827 h 2045818"/>
              <a:gd name="connsiteX37" fmla="*/ 659488 w 2012951"/>
              <a:gd name="connsiteY37" fmla="*/ 1605570 h 2045818"/>
              <a:gd name="connsiteX38" fmla="*/ 658813 w 2012951"/>
              <a:gd name="connsiteY38" fmla="*/ 1607034 h 2045818"/>
              <a:gd name="connsiteX39" fmla="*/ 616514 w 2012951"/>
              <a:gd name="connsiteY39" fmla="*/ 1614958 h 2045818"/>
              <a:gd name="connsiteX40" fmla="*/ 530329 w 2012951"/>
              <a:gd name="connsiteY40" fmla="*/ 1628693 h 2045818"/>
              <a:gd name="connsiteX41" fmla="*/ 442558 w 2012951"/>
              <a:gd name="connsiteY41" fmla="*/ 1639259 h 2045818"/>
              <a:gd name="connsiteX42" fmla="*/ 353729 w 2012951"/>
              <a:gd name="connsiteY42" fmla="*/ 1645070 h 2045818"/>
              <a:gd name="connsiteX43" fmla="*/ 309315 w 2012951"/>
              <a:gd name="connsiteY43" fmla="*/ 1646126 h 2045818"/>
              <a:gd name="connsiteX44" fmla="*/ 379637 w 2012951"/>
              <a:gd name="connsiteY44" fmla="*/ 1701595 h 2045818"/>
              <a:gd name="connsiteX45" fmla="*/ 383338 w 2012951"/>
              <a:gd name="connsiteY45" fmla="*/ 1858493 h 2045818"/>
              <a:gd name="connsiteX46" fmla="*/ 106277 w 2012951"/>
              <a:gd name="connsiteY46" fmla="*/ 1639259 h 2045818"/>
              <a:gd name="connsiteX47" fmla="*/ 0 w 2012951"/>
              <a:gd name="connsiteY47" fmla="*/ 1555263 h 2045818"/>
              <a:gd name="connsiteX48" fmla="*/ 135358 w 2012951"/>
              <a:gd name="connsiteY48" fmla="*/ 1435873 h 2045818"/>
              <a:gd name="connsiteX49" fmla="*/ 366419 w 2012951"/>
              <a:gd name="connsiteY49" fmla="*/ 1231430 h 2045818"/>
              <a:gd name="connsiteX50" fmla="*/ 371177 w 2012951"/>
              <a:gd name="connsiteY50" fmla="*/ 1387800 h 2045818"/>
              <a:gd name="connsiteX51" fmla="*/ 310901 w 2012951"/>
              <a:gd name="connsiteY51" fmla="*/ 1441156 h 2045818"/>
              <a:gd name="connsiteX52" fmla="*/ 355844 w 2012951"/>
              <a:gd name="connsiteY52" fmla="*/ 1439571 h 2045818"/>
              <a:gd name="connsiteX53" fmla="*/ 443615 w 2012951"/>
              <a:gd name="connsiteY53" fmla="*/ 1432703 h 2045818"/>
              <a:gd name="connsiteX54" fmla="*/ 530329 w 2012951"/>
              <a:gd name="connsiteY54" fmla="*/ 1422138 h 2045818"/>
              <a:gd name="connsiteX55" fmla="*/ 615456 w 2012951"/>
              <a:gd name="connsiteY55" fmla="*/ 1406289 h 2045818"/>
              <a:gd name="connsiteX56" fmla="*/ 657227 w 2012951"/>
              <a:gd name="connsiteY56" fmla="*/ 1396252 h 2045818"/>
              <a:gd name="connsiteX57" fmla="*/ 660402 w 2012951"/>
              <a:gd name="connsiteY57" fmla="*/ 1000714 h 2045818"/>
              <a:gd name="connsiteX58" fmla="*/ 660932 w 2012951"/>
              <a:gd name="connsiteY58" fmla="*/ 977960 h 2045818"/>
              <a:gd name="connsiteX59" fmla="*/ 673107 w 2012951"/>
              <a:gd name="connsiteY59" fmla="*/ 933510 h 2045818"/>
              <a:gd name="connsiteX60" fmla="*/ 695870 w 2012951"/>
              <a:gd name="connsiteY60" fmla="*/ 894881 h 2045818"/>
              <a:gd name="connsiteX61" fmla="*/ 728692 w 2012951"/>
              <a:gd name="connsiteY61" fmla="*/ 862602 h 2045818"/>
              <a:gd name="connsiteX62" fmla="*/ 747749 w 2012951"/>
              <a:gd name="connsiteY62" fmla="*/ 850431 h 2045818"/>
              <a:gd name="connsiteX63" fmla="*/ 763789 w 2012951"/>
              <a:gd name="connsiteY63" fmla="*/ 841286 h 2045818"/>
              <a:gd name="connsiteX64" fmla="*/ 622884 w 2012951"/>
              <a:gd name="connsiteY64" fmla="*/ 682571 h 2045818"/>
              <a:gd name="connsiteX65" fmla="*/ 494722 w 2012951"/>
              <a:gd name="connsiteY65" fmla="*/ 547584 h 2045818"/>
              <a:gd name="connsiteX66" fmla="*/ 458364 w 2012951"/>
              <a:gd name="connsiteY66" fmla="*/ 512952 h 2045818"/>
              <a:gd name="connsiteX67" fmla="*/ 425102 w 2012951"/>
              <a:gd name="connsiteY67" fmla="*/ 520682 h 2045818"/>
              <a:gd name="connsiteX68" fmla="*/ 366293 w 2012951"/>
              <a:gd name="connsiteY68" fmla="*/ 530787 h 2045818"/>
              <a:gd name="connsiteX69" fmla="*/ 306954 w 2012951"/>
              <a:gd name="connsiteY69" fmla="*/ 536105 h 2045818"/>
              <a:gd name="connsiteX70" fmla="*/ 276225 w 2012951"/>
              <a:gd name="connsiteY70" fmla="*/ 536105 h 2045818"/>
              <a:gd name="connsiteX71" fmla="*/ 276225 w 2012951"/>
              <a:gd name="connsiteY71" fmla="*/ 459401 h 2045818"/>
              <a:gd name="connsiteX72" fmla="*/ 378577 w 2012951"/>
              <a:gd name="connsiteY72" fmla="*/ 451657 h 2045818"/>
              <a:gd name="connsiteX73" fmla="*/ 398430 w 2012951"/>
              <a:gd name="connsiteY73" fmla="*/ 447082 h 2045818"/>
              <a:gd name="connsiteX74" fmla="*/ 411674 w 2012951"/>
              <a:gd name="connsiteY74" fmla="*/ 445747 h 2045818"/>
              <a:gd name="connsiteX75" fmla="*/ 433151 w 2012951"/>
              <a:gd name="connsiteY75" fmla="*/ 439080 h 2045818"/>
              <a:gd name="connsiteX76" fmla="*/ 476083 w 2012951"/>
              <a:gd name="connsiteY76" fmla="*/ 429186 h 2045818"/>
              <a:gd name="connsiteX77" fmla="*/ 517147 w 2012951"/>
              <a:gd name="connsiteY77" fmla="*/ 413006 h 2045818"/>
              <a:gd name="connsiteX78" fmla="*/ 537831 w 2012951"/>
              <a:gd name="connsiteY78" fmla="*/ 406585 h 2045818"/>
              <a:gd name="connsiteX79" fmla="*/ 549452 w 2012951"/>
              <a:gd name="connsiteY79" fmla="*/ 400278 h 2045818"/>
              <a:gd name="connsiteX80" fmla="*/ 567602 w 2012951"/>
              <a:gd name="connsiteY80" fmla="*/ 393127 h 2045818"/>
              <a:gd name="connsiteX81" fmla="*/ 728120 w 2012951"/>
              <a:gd name="connsiteY81" fmla="*/ 284806 h 2045818"/>
              <a:gd name="connsiteX82" fmla="*/ 741507 w 2012951"/>
              <a:gd name="connsiteY82" fmla="*/ 270765 h 2045818"/>
              <a:gd name="connsiteX83" fmla="*/ 751461 w 2012951"/>
              <a:gd name="connsiteY83" fmla="*/ 262552 h 2045818"/>
              <a:gd name="connsiteX84" fmla="*/ 765119 w 2012951"/>
              <a:gd name="connsiteY84" fmla="*/ 245998 h 2045818"/>
              <a:gd name="connsiteX85" fmla="*/ 794839 w 2012951"/>
              <a:gd name="connsiteY85" fmla="*/ 214825 h 2045818"/>
              <a:gd name="connsiteX86" fmla="*/ 819758 w 2012951"/>
              <a:gd name="connsiteY86" fmla="*/ 179775 h 2045818"/>
              <a:gd name="connsiteX87" fmla="*/ 833528 w 2012951"/>
              <a:gd name="connsiteY87" fmla="*/ 163086 h 2045818"/>
              <a:gd name="connsiteX88" fmla="*/ 839674 w 2012951"/>
              <a:gd name="connsiteY88" fmla="*/ 151762 h 2045818"/>
              <a:gd name="connsiteX89" fmla="*/ 851010 w 2012951"/>
              <a:gd name="connsiteY89" fmla="*/ 135818 h 2045818"/>
              <a:gd name="connsiteX90" fmla="*/ 895494 w 2012951"/>
              <a:gd name="connsiteY90" fmla="*/ 48923 h 204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2012951" h="2045818">
                <a:moveTo>
                  <a:pt x="910680" y="0"/>
                </a:moveTo>
                <a:lnTo>
                  <a:pt x="982663" y="23377"/>
                </a:lnTo>
                <a:lnTo>
                  <a:pt x="972609" y="51460"/>
                </a:lnTo>
                <a:lnTo>
                  <a:pt x="949855" y="105507"/>
                </a:lnTo>
                <a:lnTo>
                  <a:pt x="923396" y="158494"/>
                </a:lnTo>
                <a:lnTo>
                  <a:pt x="893930" y="205806"/>
                </a:lnTo>
                <a:lnTo>
                  <a:pt x="912572" y="244790"/>
                </a:lnTo>
                <a:lnTo>
                  <a:pt x="1001014" y="408362"/>
                </a:lnTo>
                <a:lnTo>
                  <a:pt x="1132042" y="631324"/>
                </a:lnTo>
                <a:lnTo>
                  <a:pt x="1251712" y="563093"/>
                </a:lnTo>
                <a:lnTo>
                  <a:pt x="1272358" y="551981"/>
                </a:lnTo>
                <a:lnTo>
                  <a:pt x="1315767" y="540868"/>
                </a:lnTo>
                <a:lnTo>
                  <a:pt x="1361293" y="541397"/>
                </a:lnTo>
                <a:lnTo>
                  <a:pt x="1404701" y="553039"/>
                </a:lnTo>
                <a:lnTo>
                  <a:pt x="1425347" y="563622"/>
                </a:lnTo>
                <a:lnTo>
                  <a:pt x="1926134" y="855722"/>
                </a:lnTo>
                <a:lnTo>
                  <a:pt x="1945721" y="868422"/>
                </a:lnTo>
                <a:lnTo>
                  <a:pt x="1978013" y="900702"/>
                </a:lnTo>
                <a:lnTo>
                  <a:pt x="1999717" y="939860"/>
                </a:lnTo>
                <a:lnTo>
                  <a:pt x="2011363" y="983781"/>
                </a:lnTo>
                <a:lnTo>
                  <a:pt x="2012951" y="1006535"/>
                </a:lnTo>
                <a:cubicBezTo>
                  <a:pt x="2011892" y="1199681"/>
                  <a:pt x="2010834" y="1392826"/>
                  <a:pt x="2009775" y="1585972"/>
                </a:cubicBezTo>
                <a:lnTo>
                  <a:pt x="2008187" y="1608727"/>
                </a:lnTo>
                <a:lnTo>
                  <a:pt x="1997070" y="1653177"/>
                </a:lnTo>
                <a:lnTo>
                  <a:pt x="1973778" y="1691806"/>
                </a:lnTo>
                <a:lnTo>
                  <a:pt x="1940956" y="1724085"/>
                </a:lnTo>
                <a:lnTo>
                  <a:pt x="1921899" y="1736256"/>
                </a:lnTo>
                <a:lnTo>
                  <a:pt x="1418465" y="2024122"/>
                </a:lnTo>
                <a:lnTo>
                  <a:pt x="1397819" y="2033647"/>
                </a:lnTo>
                <a:lnTo>
                  <a:pt x="1353881" y="2045818"/>
                </a:lnTo>
                <a:lnTo>
                  <a:pt x="1308885" y="2045289"/>
                </a:lnTo>
                <a:lnTo>
                  <a:pt x="1265476" y="2033647"/>
                </a:lnTo>
                <a:lnTo>
                  <a:pt x="1244831" y="2022535"/>
                </a:lnTo>
                <a:lnTo>
                  <a:pt x="744043" y="1730964"/>
                </a:lnTo>
                <a:lnTo>
                  <a:pt x="724457" y="1718793"/>
                </a:lnTo>
                <a:lnTo>
                  <a:pt x="692165" y="1685985"/>
                </a:lnTo>
                <a:lnTo>
                  <a:pt x="669931" y="1646827"/>
                </a:lnTo>
                <a:lnTo>
                  <a:pt x="659488" y="1605570"/>
                </a:lnTo>
                <a:lnTo>
                  <a:pt x="658813" y="1607034"/>
                </a:lnTo>
                <a:lnTo>
                  <a:pt x="616514" y="1614958"/>
                </a:lnTo>
                <a:lnTo>
                  <a:pt x="530329" y="1628693"/>
                </a:lnTo>
                <a:lnTo>
                  <a:pt x="442558" y="1639259"/>
                </a:lnTo>
                <a:lnTo>
                  <a:pt x="353729" y="1645070"/>
                </a:lnTo>
                <a:lnTo>
                  <a:pt x="309315" y="1646126"/>
                </a:lnTo>
                <a:lnTo>
                  <a:pt x="379637" y="1701595"/>
                </a:lnTo>
                <a:cubicBezTo>
                  <a:pt x="380871" y="1753894"/>
                  <a:pt x="382104" y="1806194"/>
                  <a:pt x="383338" y="1858493"/>
                </a:cubicBezTo>
                <a:lnTo>
                  <a:pt x="106277" y="1639259"/>
                </a:lnTo>
                <a:lnTo>
                  <a:pt x="0" y="1555263"/>
                </a:lnTo>
                <a:lnTo>
                  <a:pt x="135358" y="1435873"/>
                </a:lnTo>
                <a:lnTo>
                  <a:pt x="366419" y="1231430"/>
                </a:lnTo>
                <a:lnTo>
                  <a:pt x="371177" y="1387800"/>
                </a:lnTo>
                <a:lnTo>
                  <a:pt x="310901" y="1441156"/>
                </a:lnTo>
                <a:lnTo>
                  <a:pt x="355844" y="1439571"/>
                </a:lnTo>
                <a:lnTo>
                  <a:pt x="443615" y="1432703"/>
                </a:lnTo>
                <a:lnTo>
                  <a:pt x="530329" y="1422138"/>
                </a:lnTo>
                <a:lnTo>
                  <a:pt x="615456" y="1406289"/>
                </a:lnTo>
                <a:lnTo>
                  <a:pt x="657227" y="1396252"/>
                </a:lnTo>
                <a:cubicBezTo>
                  <a:pt x="664718" y="1328656"/>
                  <a:pt x="659785" y="1070429"/>
                  <a:pt x="660402" y="1000714"/>
                </a:cubicBezTo>
                <a:cubicBezTo>
                  <a:pt x="660579" y="993129"/>
                  <a:pt x="660755" y="985545"/>
                  <a:pt x="660932" y="977960"/>
                </a:cubicBezTo>
                <a:lnTo>
                  <a:pt x="673107" y="933510"/>
                </a:lnTo>
                <a:lnTo>
                  <a:pt x="695870" y="894881"/>
                </a:lnTo>
                <a:lnTo>
                  <a:pt x="728692" y="862602"/>
                </a:lnTo>
                <a:lnTo>
                  <a:pt x="747749" y="850431"/>
                </a:lnTo>
                <a:lnTo>
                  <a:pt x="763789" y="841286"/>
                </a:lnTo>
                <a:lnTo>
                  <a:pt x="622884" y="682571"/>
                </a:lnTo>
                <a:lnTo>
                  <a:pt x="494722" y="547584"/>
                </a:lnTo>
                <a:lnTo>
                  <a:pt x="458364" y="512952"/>
                </a:lnTo>
                <a:lnTo>
                  <a:pt x="425102" y="520682"/>
                </a:lnTo>
                <a:lnTo>
                  <a:pt x="366293" y="530787"/>
                </a:lnTo>
                <a:lnTo>
                  <a:pt x="306954" y="536105"/>
                </a:lnTo>
                <a:lnTo>
                  <a:pt x="276225" y="536105"/>
                </a:lnTo>
                <a:lnTo>
                  <a:pt x="276225" y="459401"/>
                </a:lnTo>
                <a:cubicBezTo>
                  <a:pt x="311024" y="459401"/>
                  <a:pt x="345204" y="456757"/>
                  <a:pt x="378577" y="451657"/>
                </a:cubicBezTo>
                <a:lnTo>
                  <a:pt x="398430" y="447082"/>
                </a:lnTo>
                <a:lnTo>
                  <a:pt x="411674" y="445747"/>
                </a:lnTo>
                <a:lnTo>
                  <a:pt x="433151" y="439080"/>
                </a:lnTo>
                <a:lnTo>
                  <a:pt x="476083" y="429186"/>
                </a:lnTo>
                <a:lnTo>
                  <a:pt x="517147" y="413006"/>
                </a:lnTo>
                <a:lnTo>
                  <a:pt x="537831" y="406585"/>
                </a:lnTo>
                <a:lnTo>
                  <a:pt x="549452" y="400278"/>
                </a:lnTo>
                <a:lnTo>
                  <a:pt x="567602" y="393127"/>
                </a:lnTo>
                <a:cubicBezTo>
                  <a:pt x="626366" y="364811"/>
                  <a:pt x="680379" y="328198"/>
                  <a:pt x="728120" y="284806"/>
                </a:cubicBezTo>
                <a:lnTo>
                  <a:pt x="741507" y="270765"/>
                </a:lnTo>
                <a:lnTo>
                  <a:pt x="751461" y="262552"/>
                </a:lnTo>
                <a:lnTo>
                  <a:pt x="765119" y="245998"/>
                </a:lnTo>
                <a:lnTo>
                  <a:pt x="794839" y="214825"/>
                </a:lnTo>
                <a:lnTo>
                  <a:pt x="819758" y="179775"/>
                </a:lnTo>
                <a:lnTo>
                  <a:pt x="833528" y="163086"/>
                </a:lnTo>
                <a:lnTo>
                  <a:pt x="839674" y="151762"/>
                </a:lnTo>
                <a:lnTo>
                  <a:pt x="851010" y="135818"/>
                </a:lnTo>
                <a:cubicBezTo>
                  <a:pt x="867849" y="108104"/>
                  <a:pt x="882741" y="79076"/>
                  <a:pt x="895494" y="4892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6135089F-B581-4119-8070-A6FD96115825}"/>
              </a:ext>
            </a:extLst>
          </p:cNvPr>
          <p:cNvSpPr>
            <a:spLocks/>
          </p:cNvSpPr>
          <p:nvPr/>
        </p:nvSpPr>
        <p:spPr bwMode="auto">
          <a:xfrm>
            <a:off x="6493205" y="2640939"/>
            <a:ext cx="2090408" cy="2089150"/>
          </a:xfrm>
          <a:custGeom>
            <a:avLst/>
            <a:gdLst>
              <a:gd name="connsiteX0" fmla="*/ 1353873 w 2090408"/>
              <a:gd name="connsiteY0" fmla="*/ 1494387 h 2089150"/>
              <a:gd name="connsiteX1" fmla="*/ 1365283 w 2090408"/>
              <a:gd name="connsiteY1" fmla="*/ 1498600 h 2089150"/>
              <a:gd name="connsiteX2" fmla="*/ 1387196 w 2090408"/>
              <a:gd name="connsiteY2" fmla="*/ 1503515 h 2089150"/>
              <a:gd name="connsiteX3" fmla="*/ 1390321 w 2090408"/>
              <a:gd name="connsiteY3" fmla="*/ 0 h 2089150"/>
              <a:gd name="connsiteX4" fmla="*/ 1435829 w 2090408"/>
              <a:gd name="connsiteY4" fmla="*/ 0 h 2089150"/>
              <a:gd name="connsiteX5" fmla="*/ 1479221 w 2090408"/>
              <a:gd name="connsiteY5" fmla="*/ 11116 h 2089150"/>
              <a:gd name="connsiteX6" fmla="*/ 1500387 w 2090408"/>
              <a:gd name="connsiteY6" fmla="*/ 22233 h 2089150"/>
              <a:gd name="connsiteX7" fmla="*/ 2002037 w 2090408"/>
              <a:gd name="connsiteY7" fmla="*/ 310730 h 2089150"/>
              <a:gd name="connsiteX8" fmla="*/ 2021616 w 2090408"/>
              <a:gd name="connsiteY8" fmla="*/ 323434 h 2089150"/>
              <a:gd name="connsiteX9" fmla="*/ 2053366 w 2090408"/>
              <a:gd name="connsiteY9" fmla="*/ 355725 h 2089150"/>
              <a:gd name="connsiteX10" fmla="*/ 2076650 w 2090408"/>
              <a:gd name="connsiteY10" fmla="*/ 394368 h 2089150"/>
              <a:gd name="connsiteX11" fmla="*/ 2088820 w 2090408"/>
              <a:gd name="connsiteY11" fmla="*/ 438833 h 2089150"/>
              <a:gd name="connsiteX12" fmla="*/ 2089350 w 2090408"/>
              <a:gd name="connsiteY12" fmla="*/ 461595 h 2089150"/>
              <a:gd name="connsiteX13" fmla="*/ 2090408 w 2090408"/>
              <a:gd name="connsiteY13" fmla="*/ 1041237 h 2089150"/>
              <a:gd name="connsiteX14" fmla="*/ 2089350 w 2090408"/>
              <a:gd name="connsiteY14" fmla="*/ 1063999 h 2089150"/>
              <a:gd name="connsiteX15" fmla="*/ 2077179 w 2090408"/>
              <a:gd name="connsiteY15" fmla="*/ 1107936 h 2089150"/>
              <a:gd name="connsiteX16" fmla="*/ 2054954 w 2090408"/>
              <a:gd name="connsiteY16" fmla="*/ 1147108 h 2089150"/>
              <a:gd name="connsiteX17" fmla="*/ 2023204 w 2090408"/>
              <a:gd name="connsiteY17" fmla="*/ 1178869 h 2089150"/>
              <a:gd name="connsiteX18" fmla="*/ 2003096 w 2090408"/>
              <a:gd name="connsiteY18" fmla="*/ 1192103 h 2089150"/>
              <a:gd name="connsiteX19" fmla="*/ 1501975 w 2090408"/>
              <a:gd name="connsiteY19" fmla="*/ 1482188 h 2089150"/>
              <a:gd name="connsiteX20" fmla="*/ 1481337 w 2090408"/>
              <a:gd name="connsiteY20" fmla="*/ 1492775 h 2089150"/>
              <a:gd name="connsiteX21" fmla="*/ 1437417 w 2090408"/>
              <a:gd name="connsiteY21" fmla="*/ 1503891 h 2089150"/>
              <a:gd name="connsiteX22" fmla="*/ 1397819 w 2090408"/>
              <a:gd name="connsiteY22" fmla="*/ 1504823 h 2089150"/>
              <a:gd name="connsiteX23" fmla="*/ 1417191 w 2090408"/>
              <a:gd name="connsiteY23" fmla="*/ 1506008 h 2089150"/>
              <a:gd name="connsiteX24" fmla="*/ 1429903 w 2090408"/>
              <a:gd name="connsiteY24" fmla="*/ 1505479 h 2089150"/>
              <a:gd name="connsiteX25" fmla="*/ 1417721 w 2090408"/>
              <a:gd name="connsiteY25" fmla="*/ 1570038 h 2089150"/>
              <a:gd name="connsiteX26" fmla="*/ 1385940 w 2090408"/>
              <a:gd name="connsiteY26" fmla="*/ 1698096 h 2089150"/>
              <a:gd name="connsiteX27" fmla="*/ 1365813 w 2090408"/>
              <a:gd name="connsiteY27" fmla="*/ 1759479 h 2089150"/>
              <a:gd name="connsiteX28" fmla="*/ 1348864 w 2090408"/>
              <a:gd name="connsiteY28" fmla="*/ 1809221 h 2089150"/>
              <a:gd name="connsiteX29" fmla="*/ 1329796 w 2090408"/>
              <a:gd name="connsiteY29" fmla="*/ 1857904 h 2089150"/>
              <a:gd name="connsiteX30" fmla="*/ 1401830 w 2090408"/>
              <a:gd name="connsiteY30" fmla="*/ 1827213 h 2089150"/>
              <a:gd name="connsiteX31" fmla="*/ 1541133 w 2090408"/>
              <a:gd name="connsiteY31" fmla="*/ 1899179 h 2089150"/>
              <a:gd name="connsiteX32" fmla="*/ 1257761 w 2090408"/>
              <a:gd name="connsiteY32" fmla="*/ 2019300 h 2089150"/>
              <a:gd name="connsiteX33" fmla="*/ 1089856 w 2090408"/>
              <a:gd name="connsiteY33" fmla="*/ 2089150 h 2089150"/>
              <a:gd name="connsiteX34" fmla="*/ 1059135 w 2090408"/>
              <a:gd name="connsiteY34" fmla="*/ 1953684 h 2089150"/>
              <a:gd name="connsiteX35" fmla="*/ 982333 w 2090408"/>
              <a:gd name="connsiteY35" fmla="*/ 1611842 h 2089150"/>
              <a:gd name="connsiteX36" fmla="*/ 1122166 w 2090408"/>
              <a:gd name="connsiteY36" fmla="*/ 1684338 h 2089150"/>
              <a:gd name="connsiteX37" fmla="*/ 1142293 w 2090408"/>
              <a:gd name="connsiteY37" fmla="*/ 1773238 h 2089150"/>
              <a:gd name="connsiteX38" fmla="*/ 1157124 w 2090408"/>
              <a:gd name="connsiteY38" fmla="*/ 1735138 h 2089150"/>
              <a:gd name="connsiteX39" fmla="*/ 1169836 w 2090408"/>
              <a:gd name="connsiteY39" fmla="*/ 1696508 h 2089150"/>
              <a:gd name="connsiteX40" fmla="*/ 1190493 w 2090408"/>
              <a:gd name="connsiteY40" fmla="*/ 1630892 h 2089150"/>
              <a:gd name="connsiteX41" fmla="*/ 1222803 w 2090408"/>
              <a:gd name="connsiteY41" fmla="*/ 1497013 h 2089150"/>
              <a:gd name="connsiteX42" fmla="*/ 1234985 w 2090408"/>
              <a:gd name="connsiteY42" fmla="*/ 1428750 h 2089150"/>
              <a:gd name="connsiteX43" fmla="*/ 1328736 w 2090408"/>
              <a:gd name="connsiteY43" fmla="*/ 1482725 h 2089150"/>
              <a:gd name="connsiteX44" fmla="*/ 1340919 w 2090408"/>
              <a:gd name="connsiteY44" fmla="*/ 1489604 h 2089150"/>
              <a:gd name="connsiteX45" fmla="*/ 1344421 w 2090408"/>
              <a:gd name="connsiteY45" fmla="*/ 1490897 h 2089150"/>
              <a:gd name="connsiteX46" fmla="*/ 1327879 w 2090408"/>
              <a:gd name="connsiteY46" fmla="*/ 1482188 h 2089150"/>
              <a:gd name="connsiteX47" fmla="*/ 825700 w 2090408"/>
              <a:gd name="connsiteY47" fmla="*/ 1193161 h 2089150"/>
              <a:gd name="connsiteX48" fmla="*/ 806121 w 2090408"/>
              <a:gd name="connsiteY48" fmla="*/ 1180457 h 2089150"/>
              <a:gd name="connsiteX49" fmla="*/ 773842 w 2090408"/>
              <a:gd name="connsiteY49" fmla="*/ 1148696 h 2089150"/>
              <a:gd name="connsiteX50" fmla="*/ 751617 w 2090408"/>
              <a:gd name="connsiteY50" fmla="*/ 1109524 h 2089150"/>
              <a:gd name="connsiteX51" fmla="*/ 739446 w 2090408"/>
              <a:gd name="connsiteY51" fmla="*/ 1065587 h 2089150"/>
              <a:gd name="connsiteX52" fmla="*/ 737858 w 2090408"/>
              <a:gd name="connsiteY52" fmla="*/ 1042825 h 2089150"/>
              <a:gd name="connsiteX53" fmla="*/ 737858 w 2090408"/>
              <a:gd name="connsiteY53" fmla="*/ 1041644 h 2089150"/>
              <a:gd name="connsiteX54" fmla="*/ 553179 w 2090408"/>
              <a:gd name="connsiteY54" fmla="*/ 1121834 h 2089150"/>
              <a:gd name="connsiteX55" fmla="*/ 385434 w 2090408"/>
              <a:gd name="connsiteY55" fmla="*/ 1202796 h 2089150"/>
              <a:gd name="connsiteX56" fmla="*/ 345746 w 2090408"/>
              <a:gd name="connsiteY56" fmla="*/ 1224176 h 2089150"/>
              <a:gd name="connsiteX57" fmla="*/ 341512 w 2090408"/>
              <a:gd name="connsiteY57" fmla="*/ 1267719 h 2089150"/>
              <a:gd name="connsiteX58" fmla="*/ 332517 w 2090408"/>
              <a:gd name="connsiteY58" fmla="*/ 1326524 h 2089150"/>
              <a:gd name="connsiteX59" fmla="*/ 318229 w 2090408"/>
              <a:gd name="connsiteY59" fmla="*/ 1383740 h 2089150"/>
              <a:gd name="connsiteX60" fmla="*/ 309762 w 2090408"/>
              <a:gd name="connsiteY60" fmla="*/ 1411288 h 2089150"/>
              <a:gd name="connsiteX61" fmla="*/ 237307 w 2090408"/>
              <a:gd name="connsiteY61" fmla="*/ 1387762 h 2089150"/>
              <a:gd name="connsiteX62" fmla="*/ 261225 w 2090408"/>
              <a:gd name="connsiteY62" fmla="*/ 1310712 h 2089150"/>
              <a:gd name="connsiteX63" fmla="*/ 274879 w 2090408"/>
              <a:gd name="connsiteY63" fmla="*/ 1175263 h 2089150"/>
              <a:gd name="connsiteX64" fmla="*/ 78031 w 2090408"/>
              <a:gd name="connsiteY64" fmla="*/ 700028 h 2089150"/>
              <a:gd name="connsiteX65" fmla="*/ 40397 w 2090408"/>
              <a:gd name="connsiteY65" fmla="*/ 668977 h 2089150"/>
              <a:gd name="connsiteX66" fmla="*/ 0 w 2090408"/>
              <a:gd name="connsiteY66" fmla="*/ 635647 h 2089150"/>
              <a:gd name="connsiteX67" fmla="*/ 43591 w 2090408"/>
              <a:gd name="connsiteY67" fmla="*/ 576263 h 2089150"/>
              <a:gd name="connsiteX68" fmla="*/ 66345 w 2090408"/>
              <a:gd name="connsiteY68" fmla="*/ 593772 h 2089150"/>
              <a:gd name="connsiteX69" fmla="*/ 110795 w 2090408"/>
              <a:gd name="connsiteY69" fmla="*/ 631972 h 2089150"/>
              <a:gd name="connsiteX70" fmla="*/ 152070 w 2090408"/>
              <a:gd name="connsiteY70" fmla="*/ 673356 h 2089150"/>
              <a:gd name="connsiteX71" fmla="*/ 189055 w 2090408"/>
              <a:gd name="connsiteY71" fmla="*/ 717134 h 2089150"/>
              <a:gd name="connsiteX72" fmla="*/ 226154 w 2090408"/>
              <a:gd name="connsiteY72" fmla="*/ 712259 h 2089150"/>
              <a:gd name="connsiteX73" fmla="*/ 409246 w 2090408"/>
              <a:gd name="connsiteY73" fmla="*/ 678921 h 2089150"/>
              <a:gd name="connsiteX74" fmla="*/ 666421 w 2090408"/>
              <a:gd name="connsiteY74" fmla="*/ 622300 h 2089150"/>
              <a:gd name="connsiteX75" fmla="*/ 737858 w 2090408"/>
              <a:gd name="connsiteY75" fmla="*/ 603770 h 2089150"/>
              <a:gd name="connsiteX76" fmla="*/ 737858 w 2090408"/>
              <a:gd name="connsiteY76" fmla="*/ 463713 h 2089150"/>
              <a:gd name="connsiteX77" fmla="*/ 738917 w 2090408"/>
              <a:gd name="connsiteY77" fmla="*/ 439892 h 2089150"/>
              <a:gd name="connsiteX78" fmla="*/ 750029 w 2090408"/>
              <a:gd name="connsiteY78" fmla="*/ 395956 h 2089150"/>
              <a:gd name="connsiteX79" fmla="*/ 773312 w 2090408"/>
              <a:gd name="connsiteY79" fmla="*/ 357313 h 2089150"/>
              <a:gd name="connsiteX80" fmla="*/ 805062 w 2090408"/>
              <a:gd name="connsiteY80" fmla="*/ 325022 h 2089150"/>
              <a:gd name="connsiteX81" fmla="*/ 825171 w 2090408"/>
              <a:gd name="connsiteY81" fmla="*/ 312318 h 2089150"/>
              <a:gd name="connsiteX82" fmla="*/ 1326292 w 2090408"/>
              <a:gd name="connsiteY82" fmla="*/ 22233 h 2089150"/>
              <a:gd name="connsiteX83" fmla="*/ 1346929 w 2090408"/>
              <a:gd name="connsiteY83" fmla="*/ 11116 h 208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2090408" h="2089150">
                <a:moveTo>
                  <a:pt x="1353873" y="1494387"/>
                </a:moveTo>
                <a:lnTo>
                  <a:pt x="1365283" y="1498600"/>
                </a:lnTo>
                <a:lnTo>
                  <a:pt x="1387196" y="1503515"/>
                </a:lnTo>
                <a:close/>
                <a:moveTo>
                  <a:pt x="1390321" y="0"/>
                </a:moveTo>
                <a:lnTo>
                  <a:pt x="1435829" y="0"/>
                </a:lnTo>
                <a:lnTo>
                  <a:pt x="1479221" y="11116"/>
                </a:lnTo>
                <a:lnTo>
                  <a:pt x="1500387" y="22233"/>
                </a:lnTo>
                <a:lnTo>
                  <a:pt x="2002037" y="310730"/>
                </a:lnTo>
                <a:lnTo>
                  <a:pt x="2021616" y="323434"/>
                </a:lnTo>
                <a:lnTo>
                  <a:pt x="2053366" y="355725"/>
                </a:lnTo>
                <a:lnTo>
                  <a:pt x="2076650" y="394368"/>
                </a:lnTo>
                <a:lnTo>
                  <a:pt x="2088820" y="438833"/>
                </a:lnTo>
                <a:lnTo>
                  <a:pt x="2089350" y="461595"/>
                </a:lnTo>
                <a:lnTo>
                  <a:pt x="2090408" y="1041237"/>
                </a:lnTo>
                <a:lnTo>
                  <a:pt x="2089350" y="1063999"/>
                </a:lnTo>
                <a:lnTo>
                  <a:pt x="2077179" y="1107936"/>
                </a:lnTo>
                <a:lnTo>
                  <a:pt x="2054954" y="1147108"/>
                </a:lnTo>
                <a:lnTo>
                  <a:pt x="2023204" y="1178869"/>
                </a:lnTo>
                <a:lnTo>
                  <a:pt x="2003096" y="1192103"/>
                </a:lnTo>
                <a:lnTo>
                  <a:pt x="1501975" y="1482188"/>
                </a:lnTo>
                <a:lnTo>
                  <a:pt x="1481337" y="1492775"/>
                </a:lnTo>
                <a:lnTo>
                  <a:pt x="1437417" y="1503891"/>
                </a:lnTo>
                <a:lnTo>
                  <a:pt x="1397819" y="1504823"/>
                </a:lnTo>
                <a:lnTo>
                  <a:pt x="1417191" y="1506008"/>
                </a:lnTo>
                <a:lnTo>
                  <a:pt x="1429903" y="1505479"/>
                </a:lnTo>
                <a:lnTo>
                  <a:pt x="1417721" y="1570038"/>
                </a:lnTo>
                <a:lnTo>
                  <a:pt x="1385940" y="1698096"/>
                </a:lnTo>
                <a:lnTo>
                  <a:pt x="1365813" y="1759479"/>
                </a:lnTo>
                <a:lnTo>
                  <a:pt x="1348864" y="1809221"/>
                </a:lnTo>
                <a:lnTo>
                  <a:pt x="1329796" y="1857904"/>
                </a:lnTo>
                <a:lnTo>
                  <a:pt x="1401830" y="1827213"/>
                </a:lnTo>
                <a:lnTo>
                  <a:pt x="1541133" y="1899179"/>
                </a:lnTo>
                <a:lnTo>
                  <a:pt x="1257761" y="2019300"/>
                </a:lnTo>
                <a:lnTo>
                  <a:pt x="1089856" y="2089150"/>
                </a:lnTo>
                <a:lnTo>
                  <a:pt x="1059135" y="1953684"/>
                </a:lnTo>
                <a:lnTo>
                  <a:pt x="982333" y="1611842"/>
                </a:lnTo>
                <a:lnTo>
                  <a:pt x="1122166" y="1684338"/>
                </a:lnTo>
                <a:lnTo>
                  <a:pt x="1142293" y="1773238"/>
                </a:lnTo>
                <a:lnTo>
                  <a:pt x="1157124" y="1735138"/>
                </a:lnTo>
                <a:lnTo>
                  <a:pt x="1169836" y="1696508"/>
                </a:lnTo>
                <a:lnTo>
                  <a:pt x="1190493" y="1630892"/>
                </a:lnTo>
                <a:lnTo>
                  <a:pt x="1222803" y="1497013"/>
                </a:lnTo>
                <a:lnTo>
                  <a:pt x="1234985" y="1428750"/>
                </a:lnTo>
                <a:lnTo>
                  <a:pt x="1328736" y="1482725"/>
                </a:lnTo>
                <a:lnTo>
                  <a:pt x="1340919" y="1489604"/>
                </a:lnTo>
                <a:lnTo>
                  <a:pt x="1344421" y="1490897"/>
                </a:lnTo>
                <a:lnTo>
                  <a:pt x="1327879" y="1482188"/>
                </a:lnTo>
                <a:lnTo>
                  <a:pt x="825700" y="1193161"/>
                </a:lnTo>
                <a:lnTo>
                  <a:pt x="806121" y="1180457"/>
                </a:lnTo>
                <a:lnTo>
                  <a:pt x="773842" y="1148696"/>
                </a:lnTo>
                <a:lnTo>
                  <a:pt x="751617" y="1109524"/>
                </a:lnTo>
                <a:lnTo>
                  <a:pt x="739446" y="1065587"/>
                </a:lnTo>
                <a:lnTo>
                  <a:pt x="737858" y="1042825"/>
                </a:lnTo>
                <a:lnTo>
                  <a:pt x="737858" y="1041644"/>
                </a:lnTo>
                <a:lnTo>
                  <a:pt x="553179" y="1121834"/>
                </a:lnTo>
                <a:lnTo>
                  <a:pt x="385434" y="1202796"/>
                </a:lnTo>
                <a:lnTo>
                  <a:pt x="345746" y="1224176"/>
                </a:lnTo>
                <a:lnTo>
                  <a:pt x="341512" y="1267719"/>
                </a:lnTo>
                <a:lnTo>
                  <a:pt x="332517" y="1326524"/>
                </a:lnTo>
                <a:lnTo>
                  <a:pt x="318229" y="1383740"/>
                </a:lnTo>
                <a:lnTo>
                  <a:pt x="309762" y="1411288"/>
                </a:lnTo>
                <a:lnTo>
                  <a:pt x="237307" y="1387762"/>
                </a:lnTo>
                <a:lnTo>
                  <a:pt x="261225" y="1310712"/>
                </a:lnTo>
                <a:cubicBezTo>
                  <a:pt x="270178" y="1266960"/>
                  <a:pt x="274879" y="1221661"/>
                  <a:pt x="274879" y="1175263"/>
                </a:cubicBezTo>
                <a:cubicBezTo>
                  <a:pt x="274879" y="989672"/>
                  <a:pt x="199654" y="821651"/>
                  <a:pt x="78031" y="700028"/>
                </a:cubicBezTo>
                <a:lnTo>
                  <a:pt x="40397" y="668977"/>
                </a:lnTo>
                <a:lnTo>
                  <a:pt x="0" y="635647"/>
                </a:lnTo>
                <a:lnTo>
                  <a:pt x="43591" y="576263"/>
                </a:lnTo>
                <a:lnTo>
                  <a:pt x="66345" y="593772"/>
                </a:lnTo>
                <a:lnTo>
                  <a:pt x="110795" y="631972"/>
                </a:lnTo>
                <a:lnTo>
                  <a:pt x="152070" y="673356"/>
                </a:lnTo>
                <a:lnTo>
                  <a:pt x="189055" y="717134"/>
                </a:lnTo>
                <a:lnTo>
                  <a:pt x="226154" y="712259"/>
                </a:lnTo>
                <a:lnTo>
                  <a:pt x="409246" y="678921"/>
                </a:lnTo>
                <a:lnTo>
                  <a:pt x="666421" y="622300"/>
                </a:lnTo>
                <a:lnTo>
                  <a:pt x="737858" y="603770"/>
                </a:lnTo>
                <a:lnTo>
                  <a:pt x="737858" y="463713"/>
                </a:lnTo>
                <a:lnTo>
                  <a:pt x="738917" y="439892"/>
                </a:lnTo>
                <a:lnTo>
                  <a:pt x="750029" y="395956"/>
                </a:lnTo>
                <a:lnTo>
                  <a:pt x="773312" y="357313"/>
                </a:lnTo>
                <a:lnTo>
                  <a:pt x="805062" y="325022"/>
                </a:lnTo>
                <a:lnTo>
                  <a:pt x="825171" y="312318"/>
                </a:lnTo>
                <a:lnTo>
                  <a:pt x="1326292" y="22233"/>
                </a:lnTo>
                <a:lnTo>
                  <a:pt x="1346929" y="1111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BE8E6D1-D762-4B5C-B8C5-D885C9B9FF32}"/>
              </a:ext>
            </a:extLst>
          </p:cNvPr>
          <p:cNvSpPr>
            <a:spLocks/>
          </p:cNvSpPr>
          <p:nvPr/>
        </p:nvSpPr>
        <p:spPr bwMode="auto">
          <a:xfrm>
            <a:off x="5421313" y="1326491"/>
            <a:ext cx="2092325" cy="1950369"/>
          </a:xfrm>
          <a:custGeom>
            <a:avLst/>
            <a:gdLst>
              <a:gd name="connsiteX0" fmla="*/ 653776 w 2092325"/>
              <a:gd name="connsiteY0" fmla="*/ 0 h 1950369"/>
              <a:gd name="connsiteX1" fmla="*/ 698774 w 2092325"/>
              <a:gd name="connsiteY1" fmla="*/ 0 h 1950369"/>
              <a:gd name="connsiteX2" fmla="*/ 743241 w 2092325"/>
              <a:gd name="connsiteY2" fmla="*/ 11650 h 1950369"/>
              <a:gd name="connsiteX3" fmla="*/ 763887 w 2092325"/>
              <a:gd name="connsiteY3" fmla="*/ 22241 h 1950369"/>
              <a:gd name="connsiteX4" fmla="*/ 1265204 w 2092325"/>
              <a:gd name="connsiteY4" fmla="*/ 311898 h 1950369"/>
              <a:gd name="connsiteX5" fmla="*/ 1284790 w 2092325"/>
              <a:gd name="connsiteY5" fmla="*/ 324078 h 1950369"/>
              <a:gd name="connsiteX6" fmla="*/ 1317082 w 2092325"/>
              <a:gd name="connsiteY6" fmla="*/ 356909 h 1950369"/>
              <a:gd name="connsiteX7" fmla="*/ 1339845 w 2092325"/>
              <a:gd name="connsiteY7" fmla="*/ 395566 h 1950369"/>
              <a:gd name="connsiteX8" fmla="*/ 1350962 w 2092325"/>
              <a:gd name="connsiteY8" fmla="*/ 440047 h 1950369"/>
              <a:gd name="connsiteX9" fmla="*/ 1352550 w 2092325"/>
              <a:gd name="connsiteY9" fmla="*/ 462817 h 1950369"/>
              <a:gd name="connsiteX10" fmla="*/ 1352550 w 2092325"/>
              <a:gd name="connsiteY10" fmla="*/ 763588 h 1950369"/>
              <a:gd name="connsiteX11" fmla="*/ 1409131 w 2092325"/>
              <a:gd name="connsiteY11" fmla="*/ 786323 h 1950369"/>
              <a:gd name="connsiteX12" fmla="*/ 1518061 w 2092325"/>
              <a:gd name="connsiteY12" fmla="*/ 837610 h 1950369"/>
              <a:gd name="connsiteX13" fmla="*/ 1622761 w 2092325"/>
              <a:gd name="connsiteY13" fmla="*/ 895771 h 1950369"/>
              <a:gd name="connsiteX14" fmla="*/ 1724288 w 2092325"/>
              <a:gd name="connsiteY14" fmla="*/ 960804 h 1950369"/>
              <a:gd name="connsiteX15" fmla="*/ 1772937 w 2092325"/>
              <a:gd name="connsiteY15" fmla="*/ 995701 h 1950369"/>
              <a:gd name="connsiteX16" fmla="*/ 1811010 w 2092325"/>
              <a:gd name="connsiteY16" fmla="*/ 1024781 h 1950369"/>
              <a:gd name="connsiteX17" fmla="*/ 1885040 w 2092325"/>
              <a:gd name="connsiteY17" fmla="*/ 1084527 h 1950369"/>
              <a:gd name="connsiteX18" fmla="*/ 1920469 w 2092325"/>
              <a:gd name="connsiteY18" fmla="*/ 1116780 h 1950369"/>
              <a:gd name="connsiteX19" fmla="*/ 1907778 w 2092325"/>
              <a:gd name="connsiteY19" fmla="*/ 1042758 h 1950369"/>
              <a:gd name="connsiteX20" fmla="*/ 2009834 w 2092325"/>
              <a:gd name="connsiteY20" fmla="*/ 922736 h 1950369"/>
              <a:gd name="connsiteX21" fmla="*/ 2068001 w 2092325"/>
              <a:gd name="connsiteY21" fmla="*/ 1266410 h 1950369"/>
              <a:gd name="connsiteX22" fmla="*/ 2092325 w 2092325"/>
              <a:gd name="connsiteY22" fmla="*/ 1404938 h 1950369"/>
              <a:gd name="connsiteX23" fmla="*/ 1915181 w 2092325"/>
              <a:gd name="connsiteY23" fmla="*/ 1403352 h 1950369"/>
              <a:gd name="connsiteX24" fmla="*/ 1603196 w 2092325"/>
              <a:gd name="connsiteY24" fmla="*/ 1401237 h 1950369"/>
              <a:gd name="connsiteX25" fmla="*/ 1704195 w 2092325"/>
              <a:gd name="connsiteY25" fmla="*/ 1281744 h 1950369"/>
              <a:gd name="connsiteX26" fmla="*/ 1797261 w 2092325"/>
              <a:gd name="connsiteY26" fmla="*/ 1282272 h 1950369"/>
              <a:gd name="connsiteX27" fmla="*/ 1762361 w 2092325"/>
              <a:gd name="connsiteY27" fmla="*/ 1250549 h 1950369"/>
              <a:gd name="connsiteX28" fmla="*/ 1689917 w 2092325"/>
              <a:gd name="connsiteY28" fmla="*/ 1190273 h 1950369"/>
              <a:gd name="connsiteX29" fmla="*/ 1651844 w 2092325"/>
              <a:gd name="connsiteY29" fmla="*/ 1161722 h 1950369"/>
              <a:gd name="connsiteX30" fmla="*/ 1616944 w 2092325"/>
              <a:gd name="connsiteY30" fmla="*/ 1136343 h 1950369"/>
              <a:gd name="connsiteX31" fmla="*/ 1544500 w 2092325"/>
              <a:gd name="connsiteY31" fmla="*/ 1088228 h 1950369"/>
              <a:gd name="connsiteX32" fmla="*/ 1469412 w 2092325"/>
              <a:gd name="connsiteY32" fmla="*/ 1044344 h 1950369"/>
              <a:gd name="connsiteX33" fmla="*/ 1392209 w 2092325"/>
              <a:gd name="connsiteY33" fmla="*/ 1004689 h 1950369"/>
              <a:gd name="connsiteX34" fmla="*/ 1352550 w 2092325"/>
              <a:gd name="connsiteY34" fmla="*/ 986712 h 1950369"/>
              <a:gd name="connsiteX35" fmla="*/ 1352550 w 2092325"/>
              <a:gd name="connsiteY35" fmla="*/ 1042662 h 1950369"/>
              <a:gd name="connsiteX36" fmla="*/ 1350962 w 2092325"/>
              <a:gd name="connsiteY36" fmla="*/ 1065433 h 1950369"/>
              <a:gd name="connsiteX37" fmla="*/ 1339845 w 2092325"/>
              <a:gd name="connsiteY37" fmla="*/ 1109384 h 1950369"/>
              <a:gd name="connsiteX38" fmla="*/ 1317082 w 2092325"/>
              <a:gd name="connsiteY38" fmla="*/ 1148570 h 1950369"/>
              <a:gd name="connsiteX39" fmla="*/ 1284790 w 2092325"/>
              <a:gd name="connsiteY39" fmla="*/ 1180342 h 1950369"/>
              <a:gd name="connsiteX40" fmla="*/ 1265204 w 2092325"/>
              <a:gd name="connsiteY40" fmla="*/ 1193581 h 1950369"/>
              <a:gd name="connsiteX41" fmla="*/ 894559 w 2092325"/>
              <a:gd name="connsiteY41" fmla="*/ 1407346 h 1950369"/>
              <a:gd name="connsiteX42" fmla="*/ 910558 w 2092325"/>
              <a:gd name="connsiteY42" fmla="*/ 1568811 h 1950369"/>
              <a:gd name="connsiteX43" fmla="*/ 935442 w 2092325"/>
              <a:gd name="connsiteY43" fmla="*/ 1753415 h 1950369"/>
              <a:gd name="connsiteX44" fmla="*/ 943317 w 2092325"/>
              <a:gd name="connsiteY44" fmla="*/ 1797317 h 1950369"/>
              <a:gd name="connsiteX45" fmla="*/ 991277 w 2092325"/>
              <a:gd name="connsiteY45" fmla="*/ 1817509 h 1950369"/>
              <a:gd name="connsiteX46" fmla="*/ 1042016 w 2092325"/>
              <a:gd name="connsiteY46" fmla="*/ 1844429 h 1950369"/>
              <a:gd name="connsiteX47" fmla="*/ 1091170 w 2092325"/>
              <a:gd name="connsiteY47" fmla="*/ 1874516 h 1950369"/>
              <a:gd name="connsiteX48" fmla="*/ 1114425 w 2092325"/>
              <a:gd name="connsiteY48" fmla="*/ 1891408 h 1950369"/>
              <a:gd name="connsiteX49" fmla="*/ 1071446 w 2092325"/>
              <a:gd name="connsiteY49" fmla="*/ 1949728 h 1950369"/>
              <a:gd name="connsiteX50" fmla="*/ 1067569 w 2092325"/>
              <a:gd name="connsiteY50" fmla="*/ 1946529 h 1950369"/>
              <a:gd name="connsiteX51" fmla="*/ 1050456 w 2092325"/>
              <a:gd name="connsiteY51" fmla="*/ 1932409 h 1950369"/>
              <a:gd name="connsiteX52" fmla="*/ 966064 w 2092325"/>
              <a:gd name="connsiteY52" fmla="*/ 1883903 h 1950369"/>
              <a:gd name="connsiteX53" fmla="*/ 947913 w 2092325"/>
              <a:gd name="connsiteY53" fmla="*/ 1876751 h 1950369"/>
              <a:gd name="connsiteX54" fmla="*/ 936293 w 2092325"/>
              <a:gd name="connsiteY54" fmla="*/ 1870444 h 1950369"/>
              <a:gd name="connsiteX55" fmla="*/ 915612 w 2092325"/>
              <a:gd name="connsiteY55" fmla="*/ 1864024 h 1950369"/>
              <a:gd name="connsiteX56" fmla="*/ 874545 w 2092325"/>
              <a:gd name="connsiteY56" fmla="*/ 1847843 h 1950369"/>
              <a:gd name="connsiteX57" fmla="*/ 831611 w 2092325"/>
              <a:gd name="connsiteY57" fmla="*/ 1837949 h 1950369"/>
              <a:gd name="connsiteX58" fmla="*/ 810136 w 2092325"/>
              <a:gd name="connsiteY58" fmla="*/ 1831282 h 1950369"/>
              <a:gd name="connsiteX59" fmla="*/ 796893 w 2092325"/>
              <a:gd name="connsiteY59" fmla="*/ 1829947 h 1950369"/>
              <a:gd name="connsiteX60" fmla="*/ 777040 w 2092325"/>
              <a:gd name="connsiteY60" fmla="*/ 1825372 h 1950369"/>
              <a:gd name="connsiteX61" fmla="*/ 674687 w 2092325"/>
              <a:gd name="connsiteY61" fmla="*/ 1817628 h 1950369"/>
              <a:gd name="connsiteX62" fmla="*/ 572336 w 2092325"/>
              <a:gd name="connsiteY62" fmla="*/ 1825372 h 1950369"/>
              <a:gd name="connsiteX63" fmla="*/ 552483 w 2092325"/>
              <a:gd name="connsiteY63" fmla="*/ 1829947 h 1950369"/>
              <a:gd name="connsiteX64" fmla="*/ 539239 w 2092325"/>
              <a:gd name="connsiteY64" fmla="*/ 1831282 h 1950369"/>
              <a:gd name="connsiteX65" fmla="*/ 517761 w 2092325"/>
              <a:gd name="connsiteY65" fmla="*/ 1837949 h 1950369"/>
              <a:gd name="connsiteX66" fmla="*/ 474830 w 2092325"/>
              <a:gd name="connsiteY66" fmla="*/ 1847843 h 1950369"/>
              <a:gd name="connsiteX67" fmla="*/ 433767 w 2092325"/>
              <a:gd name="connsiteY67" fmla="*/ 1864023 h 1950369"/>
              <a:gd name="connsiteX68" fmla="*/ 413082 w 2092325"/>
              <a:gd name="connsiteY68" fmla="*/ 1870444 h 1950369"/>
              <a:gd name="connsiteX69" fmla="*/ 401460 w 2092325"/>
              <a:gd name="connsiteY69" fmla="*/ 1876752 h 1950369"/>
              <a:gd name="connsiteX70" fmla="*/ 383311 w 2092325"/>
              <a:gd name="connsiteY70" fmla="*/ 1883903 h 1950369"/>
              <a:gd name="connsiteX71" fmla="*/ 298922 w 2092325"/>
              <a:gd name="connsiteY71" fmla="*/ 1932408 h 1950369"/>
              <a:gd name="connsiteX72" fmla="*/ 298919 w 2092325"/>
              <a:gd name="connsiteY72" fmla="*/ 1932409 h 1950369"/>
              <a:gd name="connsiteX73" fmla="*/ 277151 w 2092325"/>
              <a:gd name="connsiteY73" fmla="*/ 1950369 h 1950369"/>
              <a:gd name="connsiteX74" fmla="*/ 233362 w 2092325"/>
              <a:gd name="connsiteY74" fmla="*/ 1889293 h 1950369"/>
              <a:gd name="connsiteX75" fmla="*/ 256143 w 2092325"/>
              <a:gd name="connsiteY75" fmla="*/ 1872402 h 1950369"/>
              <a:gd name="connsiteX76" fmla="*/ 304885 w 2092325"/>
              <a:gd name="connsiteY76" fmla="*/ 1842844 h 1950369"/>
              <a:gd name="connsiteX77" fmla="*/ 355746 w 2092325"/>
              <a:gd name="connsiteY77" fmla="*/ 1816452 h 1950369"/>
              <a:gd name="connsiteX78" fmla="*/ 410316 w 2092325"/>
              <a:gd name="connsiteY78" fmla="*/ 1794283 h 1950369"/>
              <a:gd name="connsiteX79" fmla="*/ 411310 w 2092325"/>
              <a:gd name="connsiteY79" fmla="*/ 1793937 h 1950369"/>
              <a:gd name="connsiteX80" fmla="*/ 418696 w 2092325"/>
              <a:gd name="connsiteY80" fmla="*/ 1753415 h 1950369"/>
              <a:gd name="connsiteX81" fmla="*/ 444109 w 2092325"/>
              <a:gd name="connsiteY81" fmla="*/ 1568811 h 1950369"/>
              <a:gd name="connsiteX82" fmla="*/ 459407 w 2092325"/>
              <a:gd name="connsiteY82" fmla="*/ 1407857 h 1950369"/>
              <a:gd name="connsiteX83" fmla="*/ 87876 w 2092325"/>
              <a:gd name="connsiteY83" fmla="*/ 1193581 h 1950369"/>
              <a:gd name="connsiteX84" fmla="*/ 67760 w 2092325"/>
              <a:gd name="connsiteY84" fmla="*/ 1180342 h 1950369"/>
              <a:gd name="connsiteX85" fmla="*/ 35997 w 2092325"/>
              <a:gd name="connsiteY85" fmla="*/ 1148570 h 1950369"/>
              <a:gd name="connsiteX86" fmla="*/ 13234 w 2092325"/>
              <a:gd name="connsiteY86" fmla="*/ 1109384 h 1950369"/>
              <a:gd name="connsiteX87" fmla="*/ 1588 w 2092325"/>
              <a:gd name="connsiteY87" fmla="*/ 1065433 h 1950369"/>
              <a:gd name="connsiteX88" fmla="*/ 0 w 2092325"/>
              <a:gd name="connsiteY88" fmla="*/ 1042662 h 1950369"/>
              <a:gd name="connsiteX89" fmla="*/ 0 w 2092325"/>
              <a:gd name="connsiteY89" fmla="*/ 462817 h 1950369"/>
              <a:gd name="connsiteX90" fmla="*/ 1588 w 2092325"/>
              <a:gd name="connsiteY90" fmla="*/ 440047 h 1950369"/>
              <a:gd name="connsiteX91" fmla="*/ 13234 w 2092325"/>
              <a:gd name="connsiteY91" fmla="*/ 395566 h 1950369"/>
              <a:gd name="connsiteX92" fmla="*/ 35997 w 2092325"/>
              <a:gd name="connsiteY92" fmla="*/ 356909 h 1950369"/>
              <a:gd name="connsiteX93" fmla="*/ 67760 w 2092325"/>
              <a:gd name="connsiteY93" fmla="*/ 324078 h 1950369"/>
              <a:gd name="connsiteX94" fmla="*/ 87876 w 2092325"/>
              <a:gd name="connsiteY94" fmla="*/ 311898 h 1950369"/>
              <a:gd name="connsiteX95" fmla="*/ 589193 w 2092325"/>
              <a:gd name="connsiteY95" fmla="*/ 22241 h 1950369"/>
              <a:gd name="connsiteX96" fmla="*/ 609838 w 2092325"/>
              <a:gd name="connsiteY96" fmla="*/ 11650 h 1950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2092325" h="1950369">
                <a:moveTo>
                  <a:pt x="653776" y="0"/>
                </a:moveTo>
                <a:lnTo>
                  <a:pt x="698774" y="0"/>
                </a:lnTo>
                <a:lnTo>
                  <a:pt x="743241" y="11650"/>
                </a:lnTo>
                <a:lnTo>
                  <a:pt x="763887" y="22241"/>
                </a:lnTo>
                <a:lnTo>
                  <a:pt x="1265204" y="311898"/>
                </a:lnTo>
                <a:lnTo>
                  <a:pt x="1284790" y="324078"/>
                </a:lnTo>
                <a:lnTo>
                  <a:pt x="1317082" y="356909"/>
                </a:lnTo>
                <a:lnTo>
                  <a:pt x="1339845" y="395566"/>
                </a:lnTo>
                <a:lnTo>
                  <a:pt x="1350962" y="440047"/>
                </a:lnTo>
                <a:lnTo>
                  <a:pt x="1352550" y="462817"/>
                </a:lnTo>
                <a:lnTo>
                  <a:pt x="1352550" y="763588"/>
                </a:lnTo>
                <a:lnTo>
                  <a:pt x="1409131" y="786323"/>
                </a:lnTo>
                <a:lnTo>
                  <a:pt x="1518061" y="837610"/>
                </a:lnTo>
                <a:lnTo>
                  <a:pt x="1622761" y="895771"/>
                </a:lnTo>
                <a:lnTo>
                  <a:pt x="1724288" y="960804"/>
                </a:lnTo>
                <a:lnTo>
                  <a:pt x="1772937" y="995701"/>
                </a:lnTo>
                <a:lnTo>
                  <a:pt x="1811010" y="1024781"/>
                </a:lnTo>
                <a:lnTo>
                  <a:pt x="1885040" y="1084527"/>
                </a:lnTo>
                <a:lnTo>
                  <a:pt x="1920469" y="1116780"/>
                </a:lnTo>
                <a:lnTo>
                  <a:pt x="1907778" y="1042758"/>
                </a:lnTo>
                <a:lnTo>
                  <a:pt x="2009834" y="922736"/>
                </a:lnTo>
                <a:lnTo>
                  <a:pt x="2068001" y="1266410"/>
                </a:lnTo>
                <a:lnTo>
                  <a:pt x="2092325" y="1404938"/>
                </a:lnTo>
                <a:lnTo>
                  <a:pt x="1915181" y="1403352"/>
                </a:lnTo>
                <a:lnTo>
                  <a:pt x="1603196" y="1401237"/>
                </a:lnTo>
                <a:lnTo>
                  <a:pt x="1704195" y="1281744"/>
                </a:lnTo>
                <a:lnTo>
                  <a:pt x="1797261" y="1282272"/>
                </a:lnTo>
                <a:lnTo>
                  <a:pt x="1762361" y="1250549"/>
                </a:lnTo>
                <a:lnTo>
                  <a:pt x="1689917" y="1190273"/>
                </a:lnTo>
                <a:lnTo>
                  <a:pt x="1651844" y="1161722"/>
                </a:lnTo>
                <a:lnTo>
                  <a:pt x="1616944" y="1136343"/>
                </a:lnTo>
                <a:lnTo>
                  <a:pt x="1544500" y="1088228"/>
                </a:lnTo>
                <a:lnTo>
                  <a:pt x="1469412" y="1044344"/>
                </a:lnTo>
                <a:lnTo>
                  <a:pt x="1392209" y="1004689"/>
                </a:lnTo>
                <a:lnTo>
                  <a:pt x="1352550" y="986712"/>
                </a:lnTo>
                <a:lnTo>
                  <a:pt x="1352550" y="1042662"/>
                </a:lnTo>
                <a:lnTo>
                  <a:pt x="1350962" y="1065433"/>
                </a:lnTo>
                <a:lnTo>
                  <a:pt x="1339845" y="1109384"/>
                </a:lnTo>
                <a:lnTo>
                  <a:pt x="1317082" y="1148570"/>
                </a:lnTo>
                <a:lnTo>
                  <a:pt x="1284790" y="1180342"/>
                </a:lnTo>
                <a:lnTo>
                  <a:pt x="1265204" y="1193581"/>
                </a:lnTo>
                <a:lnTo>
                  <a:pt x="894559" y="1407346"/>
                </a:lnTo>
                <a:lnTo>
                  <a:pt x="910558" y="1568811"/>
                </a:lnTo>
                <a:lnTo>
                  <a:pt x="935442" y="1753415"/>
                </a:lnTo>
                <a:lnTo>
                  <a:pt x="943317" y="1797317"/>
                </a:lnTo>
                <a:lnTo>
                  <a:pt x="991277" y="1817509"/>
                </a:lnTo>
                <a:lnTo>
                  <a:pt x="1042016" y="1844429"/>
                </a:lnTo>
                <a:lnTo>
                  <a:pt x="1091170" y="1874516"/>
                </a:lnTo>
                <a:lnTo>
                  <a:pt x="1114425" y="1891408"/>
                </a:lnTo>
                <a:lnTo>
                  <a:pt x="1071446" y="1949728"/>
                </a:lnTo>
                <a:lnTo>
                  <a:pt x="1067569" y="1946529"/>
                </a:lnTo>
                <a:lnTo>
                  <a:pt x="1050456" y="1932409"/>
                </a:lnTo>
                <a:cubicBezTo>
                  <a:pt x="1023640" y="1914292"/>
                  <a:pt x="995446" y="1898060"/>
                  <a:pt x="966064" y="1883903"/>
                </a:cubicBezTo>
                <a:lnTo>
                  <a:pt x="947913" y="1876751"/>
                </a:lnTo>
                <a:lnTo>
                  <a:pt x="936293" y="1870444"/>
                </a:lnTo>
                <a:lnTo>
                  <a:pt x="915612" y="1864024"/>
                </a:lnTo>
                <a:lnTo>
                  <a:pt x="874545" y="1847843"/>
                </a:lnTo>
                <a:lnTo>
                  <a:pt x="831611" y="1837949"/>
                </a:lnTo>
                <a:lnTo>
                  <a:pt x="810136" y="1831282"/>
                </a:lnTo>
                <a:lnTo>
                  <a:pt x="796893" y="1829947"/>
                </a:lnTo>
                <a:lnTo>
                  <a:pt x="777040" y="1825372"/>
                </a:lnTo>
                <a:cubicBezTo>
                  <a:pt x="743667" y="1820273"/>
                  <a:pt x="709486" y="1817628"/>
                  <a:pt x="674687" y="1817628"/>
                </a:cubicBezTo>
                <a:cubicBezTo>
                  <a:pt x="639889" y="1817628"/>
                  <a:pt x="605708" y="1820273"/>
                  <a:pt x="572336" y="1825372"/>
                </a:cubicBezTo>
                <a:lnTo>
                  <a:pt x="552483" y="1829947"/>
                </a:lnTo>
                <a:lnTo>
                  <a:pt x="539239" y="1831282"/>
                </a:lnTo>
                <a:lnTo>
                  <a:pt x="517761" y="1837949"/>
                </a:lnTo>
                <a:lnTo>
                  <a:pt x="474830" y="1847843"/>
                </a:lnTo>
                <a:lnTo>
                  <a:pt x="433767" y="1864023"/>
                </a:lnTo>
                <a:lnTo>
                  <a:pt x="413082" y="1870444"/>
                </a:lnTo>
                <a:lnTo>
                  <a:pt x="401460" y="1876752"/>
                </a:lnTo>
                <a:lnTo>
                  <a:pt x="383311" y="1883903"/>
                </a:lnTo>
                <a:lnTo>
                  <a:pt x="298922" y="1932408"/>
                </a:lnTo>
                <a:lnTo>
                  <a:pt x="298919" y="1932409"/>
                </a:lnTo>
                <a:lnTo>
                  <a:pt x="277151" y="1950369"/>
                </a:lnTo>
                <a:lnTo>
                  <a:pt x="233362" y="1889293"/>
                </a:lnTo>
                <a:lnTo>
                  <a:pt x="256143" y="1872402"/>
                </a:lnTo>
                <a:lnTo>
                  <a:pt x="304885" y="1842844"/>
                </a:lnTo>
                <a:lnTo>
                  <a:pt x="355746" y="1816452"/>
                </a:lnTo>
                <a:lnTo>
                  <a:pt x="410316" y="1794283"/>
                </a:lnTo>
                <a:lnTo>
                  <a:pt x="411310" y="1793937"/>
                </a:lnTo>
                <a:lnTo>
                  <a:pt x="418696" y="1753415"/>
                </a:lnTo>
                <a:lnTo>
                  <a:pt x="444109" y="1568811"/>
                </a:lnTo>
                <a:lnTo>
                  <a:pt x="459407" y="1407857"/>
                </a:lnTo>
                <a:lnTo>
                  <a:pt x="87876" y="1193581"/>
                </a:lnTo>
                <a:lnTo>
                  <a:pt x="67760" y="1180342"/>
                </a:lnTo>
                <a:lnTo>
                  <a:pt x="35997" y="1148570"/>
                </a:lnTo>
                <a:lnTo>
                  <a:pt x="13234" y="1109384"/>
                </a:lnTo>
                <a:lnTo>
                  <a:pt x="1588" y="1065433"/>
                </a:lnTo>
                <a:lnTo>
                  <a:pt x="0" y="1042662"/>
                </a:lnTo>
                <a:lnTo>
                  <a:pt x="0" y="462817"/>
                </a:lnTo>
                <a:lnTo>
                  <a:pt x="1588" y="440047"/>
                </a:lnTo>
                <a:lnTo>
                  <a:pt x="13234" y="395566"/>
                </a:lnTo>
                <a:lnTo>
                  <a:pt x="35997" y="356909"/>
                </a:lnTo>
                <a:lnTo>
                  <a:pt x="67760" y="324078"/>
                </a:lnTo>
                <a:lnTo>
                  <a:pt x="87876" y="311898"/>
                </a:lnTo>
                <a:lnTo>
                  <a:pt x="589193" y="22241"/>
                </a:lnTo>
                <a:lnTo>
                  <a:pt x="609838" y="116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B3371F4-F808-48CA-BB60-4645EC9EA65F}"/>
              </a:ext>
            </a:extLst>
          </p:cNvPr>
          <p:cNvSpPr>
            <a:spLocks/>
          </p:cNvSpPr>
          <p:nvPr/>
        </p:nvSpPr>
        <p:spPr bwMode="auto">
          <a:xfrm>
            <a:off x="3608388" y="2140878"/>
            <a:ext cx="2090017" cy="2005012"/>
          </a:xfrm>
          <a:custGeom>
            <a:avLst/>
            <a:gdLst>
              <a:gd name="connsiteX0" fmla="*/ 668867 w 2090017"/>
              <a:gd name="connsiteY0" fmla="*/ 500062 h 2005012"/>
              <a:gd name="connsiteX1" fmla="*/ 713846 w 2090017"/>
              <a:gd name="connsiteY1" fmla="*/ 501120 h 2005012"/>
              <a:gd name="connsiteX2" fmla="*/ 757767 w 2090017"/>
              <a:gd name="connsiteY2" fmla="*/ 513286 h 2005012"/>
              <a:gd name="connsiteX3" fmla="*/ 777346 w 2090017"/>
              <a:gd name="connsiteY3" fmla="*/ 524395 h 2005012"/>
              <a:gd name="connsiteX4" fmla="*/ 1274763 w 2090017"/>
              <a:gd name="connsiteY4" fmla="*/ 821682 h 2005012"/>
              <a:gd name="connsiteX5" fmla="*/ 1294871 w 2090017"/>
              <a:gd name="connsiteY5" fmla="*/ 834378 h 2005012"/>
              <a:gd name="connsiteX6" fmla="*/ 1326092 w 2090017"/>
              <a:gd name="connsiteY6" fmla="*/ 867174 h 2005012"/>
              <a:gd name="connsiteX7" fmla="*/ 1348317 w 2090017"/>
              <a:gd name="connsiteY7" fmla="*/ 905790 h 2005012"/>
              <a:gd name="connsiteX8" fmla="*/ 1359429 w 2090017"/>
              <a:gd name="connsiteY8" fmla="*/ 950224 h 2005012"/>
              <a:gd name="connsiteX9" fmla="*/ 1360488 w 2090017"/>
              <a:gd name="connsiteY9" fmla="*/ 973500 h 2005012"/>
              <a:gd name="connsiteX10" fmla="*/ 1358506 w 2090017"/>
              <a:gd name="connsiteY10" fmla="*/ 1093931 h 2005012"/>
              <a:gd name="connsiteX11" fmla="*/ 1419128 w 2090017"/>
              <a:gd name="connsiteY11" fmla="*/ 1109662 h 2005012"/>
              <a:gd name="connsiteX12" fmla="*/ 1676737 w 2090017"/>
              <a:gd name="connsiteY12" fmla="*/ 1166812 h 2005012"/>
              <a:gd name="connsiteX13" fmla="*/ 1859761 w 2090017"/>
              <a:gd name="connsiteY13" fmla="*/ 1199621 h 2005012"/>
              <a:gd name="connsiteX14" fmla="*/ 1907154 w 2090017"/>
              <a:gd name="connsiteY14" fmla="*/ 1206141 h 2005012"/>
              <a:gd name="connsiteX15" fmla="*/ 1936482 w 2090017"/>
              <a:gd name="connsiteY15" fmla="*/ 1172232 h 2005012"/>
              <a:gd name="connsiteX16" fmla="*/ 1977689 w 2090017"/>
              <a:gd name="connsiteY16" fmla="*/ 1130373 h 2005012"/>
              <a:gd name="connsiteX17" fmla="*/ 2022594 w 2090017"/>
              <a:gd name="connsiteY17" fmla="*/ 1092222 h 2005012"/>
              <a:gd name="connsiteX18" fmla="*/ 2046367 w 2090017"/>
              <a:gd name="connsiteY18" fmla="*/ 1074737 h 2005012"/>
              <a:gd name="connsiteX19" fmla="*/ 2090017 w 2090017"/>
              <a:gd name="connsiteY19" fmla="*/ 1136030 h 2005012"/>
              <a:gd name="connsiteX20" fmla="*/ 2012377 w 2090017"/>
              <a:gd name="connsiteY20" fmla="*/ 1200089 h 2005012"/>
              <a:gd name="connsiteX21" fmla="*/ 1815528 w 2090017"/>
              <a:gd name="connsiteY21" fmla="*/ 1675324 h 2005012"/>
              <a:gd name="connsiteX22" fmla="*/ 1829183 w 2090017"/>
              <a:gd name="connsiteY22" fmla="*/ 1810773 h 2005012"/>
              <a:gd name="connsiteX23" fmla="*/ 1853128 w 2090017"/>
              <a:gd name="connsiteY23" fmla="*/ 1887911 h 2005012"/>
              <a:gd name="connsiteX24" fmla="*/ 1776759 w 2090017"/>
              <a:gd name="connsiteY24" fmla="*/ 1912938 h 2005012"/>
              <a:gd name="connsiteX25" fmla="*/ 1768215 w 2090017"/>
              <a:gd name="connsiteY25" fmla="*/ 1884924 h 2005012"/>
              <a:gd name="connsiteX26" fmla="*/ 1753798 w 2090017"/>
              <a:gd name="connsiteY26" fmla="*/ 1827840 h 2005012"/>
              <a:gd name="connsiteX27" fmla="*/ 1743652 w 2090017"/>
              <a:gd name="connsiteY27" fmla="*/ 1769169 h 2005012"/>
              <a:gd name="connsiteX28" fmla="*/ 1739585 w 2090017"/>
              <a:gd name="connsiteY28" fmla="*/ 1711797 h 2005012"/>
              <a:gd name="connsiteX29" fmla="*/ 1700541 w 2090017"/>
              <a:gd name="connsiteY29" fmla="*/ 1690688 h 2005012"/>
              <a:gd name="connsiteX30" fmla="*/ 1532857 w 2090017"/>
              <a:gd name="connsiteY30" fmla="*/ 1610254 h 2005012"/>
              <a:gd name="connsiteX31" fmla="*/ 1351312 w 2090017"/>
              <a:gd name="connsiteY31" fmla="*/ 1530998 h 2005012"/>
              <a:gd name="connsiteX32" fmla="*/ 1350963 w 2090017"/>
              <a:gd name="connsiteY32" fmla="*/ 1552205 h 2005012"/>
              <a:gd name="connsiteX33" fmla="*/ 1349375 w 2090017"/>
              <a:gd name="connsiteY33" fmla="*/ 1574951 h 2005012"/>
              <a:gd name="connsiteX34" fmla="*/ 1337204 w 2090017"/>
              <a:gd name="connsiteY34" fmla="*/ 1618856 h 2005012"/>
              <a:gd name="connsiteX35" fmla="*/ 1314450 w 2090017"/>
              <a:gd name="connsiteY35" fmla="*/ 1658001 h 2005012"/>
              <a:gd name="connsiteX36" fmla="*/ 1281642 w 2090017"/>
              <a:gd name="connsiteY36" fmla="*/ 1689211 h 2005012"/>
              <a:gd name="connsiteX37" fmla="*/ 1262063 w 2090017"/>
              <a:gd name="connsiteY37" fmla="*/ 1701377 h 2005012"/>
              <a:gd name="connsiteX38" fmla="*/ 756179 w 2090017"/>
              <a:gd name="connsiteY38" fmla="*/ 1983853 h 2005012"/>
              <a:gd name="connsiteX39" fmla="*/ 735542 w 2090017"/>
              <a:gd name="connsiteY39" fmla="*/ 1993375 h 2005012"/>
              <a:gd name="connsiteX40" fmla="*/ 691621 w 2090017"/>
              <a:gd name="connsiteY40" fmla="*/ 2005012 h 2005012"/>
              <a:gd name="connsiteX41" fmla="*/ 645583 w 2090017"/>
              <a:gd name="connsiteY41" fmla="*/ 2003954 h 2005012"/>
              <a:gd name="connsiteX42" fmla="*/ 602192 w 2090017"/>
              <a:gd name="connsiteY42" fmla="*/ 1991788 h 2005012"/>
              <a:gd name="connsiteX43" fmla="*/ 581554 w 2090017"/>
              <a:gd name="connsiteY43" fmla="*/ 1980679 h 2005012"/>
              <a:gd name="connsiteX44" fmla="*/ 84137 w 2090017"/>
              <a:gd name="connsiteY44" fmla="*/ 1683921 h 2005012"/>
              <a:gd name="connsiteX45" fmla="*/ 65087 w 2090017"/>
              <a:gd name="connsiteY45" fmla="*/ 1671754 h 2005012"/>
              <a:gd name="connsiteX46" fmla="*/ 33337 w 2090017"/>
              <a:gd name="connsiteY46" fmla="*/ 1638958 h 2005012"/>
              <a:gd name="connsiteX47" fmla="*/ 11112 w 2090017"/>
              <a:gd name="connsiteY47" fmla="*/ 1599284 h 2005012"/>
              <a:gd name="connsiteX48" fmla="*/ 529 w 2090017"/>
              <a:gd name="connsiteY48" fmla="*/ 1555379 h 2005012"/>
              <a:gd name="connsiteX49" fmla="*/ 0 w 2090017"/>
              <a:gd name="connsiteY49" fmla="*/ 1531574 h 2005012"/>
              <a:gd name="connsiteX50" fmla="*/ 8467 w 2090017"/>
              <a:gd name="connsiteY50" fmla="*/ 952869 h 2005012"/>
              <a:gd name="connsiteX51" fmla="*/ 9525 w 2090017"/>
              <a:gd name="connsiteY51" fmla="*/ 930123 h 2005012"/>
              <a:gd name="connsiteX52" fmla="*/ 21696 w 2090017"/>
              <a:gd name="connsiteY52" fmla="*/ 886218 h 2005012"/>
              <a:gd name="connsiteX53" fmla="*/ 45508 w 2090017"/>
              <a:gd name="connsiteY53" fmla="*/ 847073 h 2005012"/>
              <a:gd name="connsiteX54" fmla="*/ 78317 w 2090017"/>
              <a:gd name="connsiteY54" fmla="*/ 815863 h 2005012"/>
              <a:gd name="connsiteX55" fmla="*/ 97367 w 2090017"/>
              <a:gd name="connsiteY55" fmla="*/ 803697 h 2005012"/>
              <a:gd name="connsiteX56" fmla="*/ 603779 w 2090017"/>
              <a:gd name="connsiteY56" fmla="*/ 521750 h 2005012"/>
              <a:gd name="connsiteX57" fmla="*/ 624417 w 2090017"/>
              <a:gd name="connsiteY57" fmla="*/ 511699 h 2005012"/>
              <a:gd name="connsiteX58" fmla="*/ 1260358 w 2090017"/>
              <a:gd name="connsiteY58" fmla="*/ 0 h 2005012"/>
              <a:gd name="connsiteX59" fmla="*/ 1581463 w 2090017"/>
              <a:gd name="connsiteY59" fmla="*/ 54583 h 2005012"/>
              <a:gd name="connsiteX60" fmla="*/ 1743075 w 2090017"/>
              <a:gd name="connsiteY60" fmla="*/ 82669 h 2005012"/>
              <a:gd name="connsiteX61" fmla="*/ 1690087 w 2090017"/>
              <a:gd name="connsiteY61" fmla="*/ 229990 h 2005012"/>
              <a:gd name="connsiteX62" fmla="*/ 1576164 w 2090017"/>
              <a:gd name="connsiteY62" fmla="*/ 543178 h 2005012"/>
              <a:gd name="connsiteX63" fmla="*/ 1496682 w 2090017"/>
              <a:gd name="connsiteY63" fmla="*/ 407516 h 2005012"/>
              <a:gd name="connsiteX64" fmla="*/ 1523706 w 2090017"/>
              <a:gd name="connsiteY64" fmla="*/ 335446 h 2005012"/>
              <a:gd name="connsiteX65" fmla="*/ 1518407 w 2090017"/>
              <a:gd name="connsiteY65" fmla="*/ 339155 h 2005012"/>
              <a:gd name="connsiteX66" fmla="*/ 1513109 w 2090017"/>
              <a:gd name="connsiteY66" fmla="*/ 342865 h 2005012"/>
              <a:gd name="connsiteX67" fmla="*/ 1458001 w 2090017"/>
              <a:gd name="connsiteY67" fmla="*/ 384199 h 2005012"/>
              <a:gd name="connsiteX68" fmla="*/ 1354146 w 2090017"/>
              <a:gd name="connsiteY68" fmla="*/ 474817 h 2005012"/>
              <a:gd name="connsiteX69" fmla="*/ 1257178 w 2090017"/>
              <a:gd name="connsiteY69" fmla="*/ 572324 h 2005012"/>
              <a:gd name="connsiteX70" fmla="*/ 1169749 w 2090017"/>
              <a:gd name="connsiteY70" fmla="*/ 678840 h 2005012"/>
              <a:gd name="connsiteX71" fmla="*/ 1130008 w 2090017"/>
              <a:gd name="connsiteY71" fmla="*/ 735013 h 2005012"/>
              <a:gd name="connsiteX72" fmla="*/ 952500 w 2090017"/>
              <a:gd name="connsiteY72" fmla="*/ 629027 h 2005012"/>
              <a:gd name="connsiteX73" fmla="*/ 998069 w 2090017"/>
              <a:gd name="connsiteY73" fmla="*/ 563845 h 2005012"/>
              <a:gd name="connsiteX74" fmla="*/ 1098746 w 2090017"/>
              <a:gd name="connsiteY74" fmla="*/ 441432 h 2005012"/>
              <a:gd name="connsiteX75" fmla="*/ 1209490 w 2090017"/>
              <a:gd name="connsiteY75" fmla="*/ 327497 h 2005012"/>
              <a:gd name="connsiteX76" fmla="*/ 1328182 w 2090017"/>
              <a:gd name="connsiteY76" fmla="*/ 224160 h 2005012"/>
              <a:gd name="connsiteX77" fmla="*/ 1392297 w 2090017"/>
              <a:gd name="connsiteY77" fmla="*/ 176467 h 2005012"/>
              <a:gd name="connsiteX78" fmla="*/ 1409783 w 2090017"/>
              <a:gd name="connsiteY78" fmla="*/ 163748 h 2005012"/>
              <a:gd name="connsiteX79" fmla="*/ 1428328 w 2090017"/>
              <a:gd name="connsiteY79" fmla="*/ 150500 h 2005012"/>
              <a:gd name="connsiteX80" fmla="*/ 1338779 w 2090017"/>
              <a:gd name="connsiteY80" fmla="*/ 135662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2090017" h="2005012">
                <a:moveTo>
                  <a:pt x="668867" y="500062"/>
                </a:moveTo>
                <a:lnTo>
                  <a:pt x="713846" y="501120"/>
                </a:lnTo>
                <a:lnTo>
                  <a:pt x="757767" y="513286"/>
                </a:lnTo>
                <a:lnTo>
                  <a:pt x="777346" y="524395"/>
                </a:lnTo>
                <a:lnTo>
                  <a:pt x="1274763" y="821682"/>
                </a:lnTo>
                <a:lnTo>
                  <a:pt x="1294871" y="834378"/>
                </a:lnTo>
                <a:lnTo>
                  <a:pt x="1326092" y="867174"/>
                </a:lnTo>
                <a:lnTo>
                  <a:pt x="1348317" y="905790"/>
                </a:lnTo>
                <a:lnTo>
                  <a:pt x="1359429" y="950224"/>
                </a:lnTo>
                <a:lnTo>
                  <a:pt x="1360488" y="973500"/>
                </a:lnTo>
                <a:lnTo>
                  <a:pt x="1358506" y="1093931"/>
                </a:lnTo>
                <a:lnTo>
                  <a:pt x="1419128" y="1109662"/>
                </a:lnTo>
                <a:lnTo>
                  <a:pt x="1676737" y="1166812"/>
                </a:lnTo>
                <a:lnTo>
                  <a:pt x="1859761" y="1199621"/>
                </a:lnTo>
                <a:lnTo>
                  <a:pt x="1907154" y="1206141"/>
                </a:lnTo>
                <a:lnTo>
                  <a:pt x="1936482" y="1172232"/>
                </a:lnTo>
                <a:lnTo>
                  <a:pt x="1977689" y="1130373"/>
                </a:lnTo>
                <a:lnTo>
                  <a:pt x="2022594" y="1092222"/>
                </a:lnTo>
                <a:lnTo>
                  <a:pt x="2046367" y="1074737"/>
                </a:lnTo>
                <a:lnTo>
                  <a:pt x="2090017" y="1136030"/>
                </a:lnTo>
                <a:lnTo>
                  <a:pt x="2012377" y="1200089"/>
                </a:lnTo>
                <a:cubicBezTo>
                  <a:pt x="1890754" y="1321712"/>
                  <a:pt x="1815528" y="1489733"/>
                  <a:pt x="1815528" y="1675324"/>
                </a:cubicBezTo>
                <a:cubicBezTo>
                  <a:pt x="1815528" y="1721722"/>
                  <a:pt x="1820230" y="1767021"/>
                  <a:pt x="1829183" y="1810773"/>
                </a:cubicBezTo>
                <a:lnTo>
                  <a:pt x="1853128" y="1887911"/>
                </a:lnTo>
                <a:lnTo>
                  <a:pt x="1776759" y="1912938"/>
                </a:lnTo>
                <a:lnTo>
                  <a:pt x="1768215" y="1884924"/>
                </a:lnTo>
                <a:lnTo>
                  <a:pt x="1753798" y="1827840"/>
                </a:lnTo>
                <a:lnTo>
                  <a:pt x="1743652" y="1769169"/>
                </a:lnTo>
                <a:lnTo>
                  <a:pt x="1739585" y="1711797"/>
                </a:lnTo>
                <a:lnTo>
                  <a:pt x="1700541" y="1690688"/>
                </a:lnTo>
                <a:lnTo>
                  <a:pt x="1532857" y="1610254"/>
                </a:lnTo>
                <a:lnTo>
                  <a:pt x="1351312" y="1530998"/>
                </a:lnTo>
                <a:lnTo>
                  <a:pt x="1350963" y="1552205"/>
                </a:lnTo>
                <a:lnTo>
                  <a:pt x="1349375" y="1574951"/>
                </a:lnTo>
                <a:lnTo>
                  <a:pt x="1337204" y="1618856"/>
                </a:lnTo>
                <a:lnTo>
                  <a:pt x="1314450" y="1658001"/>
                </a:lnTo>
                <a:lnTo>
                  <a:pt x="1281642" y="1689211"/>
                </a:lnTo>
                <a:lnTo>
                  <a:pt x="1262063" y="1701377"/>
                </a:lnTo>
                <a:lnTo>
                  <a:pt x="756179" y="1983853"/>
                </a:lnTo>
                <a:lnTo>
                  <a:pt x="735542" y="1993375"/>
                </a:lnTo>
                <a:lnTo>
                  <a:pt x="691621" y="2005012"/>
                </a:lnTo>
                <a:lnTo>
                  <a:pt x="645583" y="2003954"/>
                </a:lnTo>
                <a:lnTo>
                  <a:pt x="602192" y="1991788"/>
                </a:lnTo>
                <a:lnTo>
                  <a:pt x="581554" y="1980679"/>
                </a:lnTo>
                <a:lnTo>
                  <a:pt x="84137" y="1683921"/>
                </a:lnTo>
                <a:lnTo>
                  <a:pt x="65087" y="1671754"/>
                </a:lnTo>
                <a:lnTo>
                  <a:pt x="33337" y="1638958"/>
                </a:lnTo>
                <a:lnTo>
                  <a:pt x="11112" y="1599284"/>
                </a:lnTo>
                <a:lnTo>
                  <a:pt x="529" y="1555379"/>
                </a:lnTo>
                <a:lnTo>
                  <a:pt x="0" y="1531574"/>
                </a:lnTo>
                <a:lnTo>
                  <a:pt x="8467" y="952869"/>
                </a:lnTo>
                <a:lnTo>
                  <a:pt x="9525" y="930123"/>
                </a:lnTo>
                <a:lnTo>
                  <a:pt x="21696" y="886218"/>
                </a:lnTo>
                <a:lnTo>
                  <a:pt x="45508" y="847073"/>
                </a:lnTo>
                <a:lnTo>
                  <a:pt x="78317" y="815863"/>
                </a:lnTo>
                <a:lnTo>
                  <a:pt x="97367" y="803697"/>
                </a:lnTo>
                <a:lnTo>
                  <a:pt x="603779" y="521750"/>
                </a:lnTo>
                <a:lnTo>
                  <a:pt x="624417" y="511699"/>
                </a:lnTo>
                <a:close/>
                <a:moveTo>
                  <a:pt x="1260358" y="0"/>
                </a:moveTo>
                <a:lnTo>
                  <a:pt x="1581463" y="54583"/>
                </a:lnTo>
                <a:lnTo>
                  <a:pt x="1743075" y="82669"/>
                </a:lnTo>
                <a:lnTo>
                  <a:pt x="1690087" y="229990"/>
                </a:lnTo>
                <a:lnTo>
                  <a:pt x="1576164" y="543178"/>
                </a:lnTo>
                <a:lnTo>
                  <a:pt x="1496682" y="407516"/>
                </a:lnTo>
                <a:lnTo>
                  <a:pt x="1523706" y="335446"/>
                </a:lnTo>
                <a:lnTo>
                  <a:pt x="1518407" y="339155"/>
                </a:lnTo>
                <a:lnTo>
                  <a:pt x="1513109" y="342865"/>
                </a:lnTo>
                <a:lnTo>
                  <a:pt x="1458001" y="384199"/>
                </a:lnTo>
                <a:lnTo>
                  <a:pt x="1354146" y="474817"/>
                </a:lnTo>
                <a:lnTo>
                  <a:pt x="1257178" y="572324"/>
                </a:lnTo>
                <a:lnTo>
                  <a:pt x="1169749" y="678840"/>
                </a:lnTo>
                <a:lnTo>
                  <a:pt x="1130008" y="735013"/>
                </a:lnTo>
                <a:lnTo>
                  <a:pt x="952500" y="629027"/>
                </a:lnTo>
                <a:lnTo>
                  <a:pt x="998069" y="563845"/>
                </a:lnTo>
                <a:lnTo>
                  <a:pt x="1098746" y="441432"/>
                </a:lnTo>
                <a:lnTo>
                  <a:pt x="1209490" y="327497"/>
                </a:lnTo>
                <a:lnTo>
                  <a:pt x="1328182" y="224160"/>
                </a:lnTo>
                <a:lnTo>
                  <a:pt x="1392297" y="176467"/>
                </a:lnTo>
                <a:lnTo>
                  <a:pt x="1409783" y="163748"/>
                </a:lnTo>
                <a:lnTo>
                  <a:pt x="1428328" y="150500"/>
                </a:lnTo>
                <a:lnTo>
                  <a:pt x="1338779" y="1356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1DE3561C-35FB-4A76-B9F2-029DCF68EA94}"/>
              </a:ext>
            </a:extLst>
          </p:cNvPr>
          <p:cNvSpPr>
            <a:spLocks/>
          </p:cNvSpPr>
          <p:nvPr/>
        </p:nvSpPr>
        <p:spPr bwMode="auto">
          <a:xfrm>
            <a:off x="4170363" y="4131984"/>
            <a:ext cx="1789743" cy="1941133"/>
          </a:xfrm>
          <a:custGeom>
            <a:avLst/>
            <a:gdLst>
              <a:gd name="connsiteX0" fmla="*/ 1335774 w 1789743"/>
              <a:gd name="connsiteY0" fmla="*/ 0 h 1941133"/>
              <a:gd name="connsiteX1" fmla="*/ 1368335 w 1789743"/>
              <a:gd name="connsiteY1" fmla="*/ 59988 h 1941133"/>
              <a:gd name="connsiteX2" fmla="*/ 1368343 w 1789743"/>
              <a:gd name="connsiteY2" fmla="*/ 59998 h 1941133"/>
              <a:gd name="connsiteX3" fmla="*/ 1428149 w 1789743"/>
              <a:gd name="connsiteY3" fmla="*/ 136114 h 1941133"/>
              <a:gd name="connsiteX4" fmla="*/ 1442185 w 1789743"/>
              <a:gd name="connsiteY4" fmla="*/ 149495 h 1941133"/>
              <a:gd name="connsiteX5" fmla="*/ 1450402 w 1789743"/>
              <a:gd name="connsiteY5" fmla="*/ 159454 h 1941133"/>
              <a:gd name="connsiteX6" fmla="*/ 1466964 w 1789743"/>
              <a:gd name="connsiteY6" fmla="*/ 173119 h 1941133"/>
              <a:gd name="connsiteX7" fmla="*/ 1498130 w 1789743"/>
              <a:gd name="connsiteY7" fmla="*/ 202832 h 1941133"/>
              <a:gd name="connsiteX8" fmla="*/ 1533173 w 1789743"/>
              <a:gd name="connsiteY8" fmla="*/ 227747 h 1941133"/>
              <a:gd name="connsiteX9" fmla="*/ 1549869 w 1789743"/>
              <a:gd name="connsiteY9" fmla="*/ 241522 h 1941133"/>
              <a:gd name="connsiteX10" fmla="*/ 1561197 w 1789743"/>
              <a:gd name="connsiteY10" fmla="*/ 247671 h 1941133"/>
              <a:gd name="connsiteX11" fmla="*/ 1577137 w 1789743"/>
              <a:gd name="connsiteY11" fmla="*/ 259004 h 1941133"/>
              <a:gd name="connsiteX12" fmla="*/ 1664032 w 1789743"/>
              <a:gd name="connsiteY12" fmla="*/ 303488 h 1941133"/>
              <a:gd name="connsiteX13" fmla="*/ 1735421 w 1789743"/>
              <a:gd name="connsiteY13" fmla="*/ 325648 h 1941133"/>
              <a:gd name="connsiteX14" fmla="*/ 1789743 w 1789743"/>
              <a:gd name="connsiteY14" fmla="*/ 342510 h 1941133"/>
              <a:gd name="connsiteX15" fmla="*/ 1689390 w 1789743"/>
              <a:gd name="connsiteY15" fmla="*/ 438136 h 1941133"/>
              <a:gd name="connsiteX16" fmla="*/ 1560750 w 1789743"/>
              <a:gd name="connsiteY16" fmla="*/ 572065 h 1941133"/>
              <a:gd name="connsiteX17" fmla="*/ 1419692 w 1789743"/>
              <a:gd name="connsiteY17" fmla="*/ 731016 h 1941133"/>
              <a:gd name="connsiteX18" fmla="*/ 1451471 w 1789743"/>
              <a:gd name="connsiteY18" fmla="*/ 749340 h 1941133"/>
              <a:gd name="connsiteX19" fmla="*/ 1470528 w 1789743"/>
              <a:gd name="connsiteY19" fmla="*/ 761506 h 1941133"/>
              <a:gd name="connsiteX20" fmla="*/ 1503350 w 1789743"/>
              <a:gd name="connsiteY20" fmla="*/ 794303 h 1941133"/>
              <a:gd name="connsiteX21" fmla="*/ 1525583 w 1789743"/>
              <a:gd name="connsiteY21" fmla="*/ 832919 h 1941133"/>
              <a:gd name="connsiteX22" fmla="*/ 1537759 w 1789743"/>
              <a:gd name="connsiteY22" fmla="*/ 876824 h 1941133"/>
              <a:gd name="connsiteX23" fmla="*/ 1538288 w 1789743"/>
              <a:gd name="connsiteY23" fmla="*/ 900099 h 1941133"/>
              <a:gd name="connsiteX24" fmla="*/ 1538288 w 1789743"/>
              <a:gd name="connsiteY24" fmla="*/ 1478275 h 1941133"/>
              <a:gd name="connsiteX25" fmla="*/ 1537759 w 1789743"/>
              <a:gd name="connsiteY25" fmla="*/ 1502079 h 1941133"/>
              <a:gd name="connsiteX26" fmla="*/ 1525583 w 1789743"/>
              <a:gd name="connsiteY26" fmla="*/ 1545985 h 1941133"/>
              <a:gd name="connsiteX27" fmla="*/ 1503350 w 1789743"/>
              <a:gd name="connsiteY27" fmla="*/ 1585129 h 1941133"/>
              <a:gd name="connsiteX28" fmla="*/ 1471587 w 1789743"/>
              <a:gd name="connsiteY28" fmla="*/ 1616868 h 1941133"/>
              <a:gd name="connsiteX29" fmla="*/ 1451471 w 1789743"/>
              <a:gd name="connsiteY29" fmla="*/ 1629564 h 1941133"/>
              <a:gd name="connsiteX30" fmla="*/ 950154 w 1789743"/>
              <a:gd name="connsiteY30" fmla="*/ 1918916 h 1941133"/>
              <a:gd name="connsiteX31" fmla="*/ 928979 w 1789743"/>
              <a:gd name="connsiteY31" fmla="*/ 1929496 h 1941133"/>
              <a:gd name="connsiteX32" fmla="*/ 885570 w 1789743"/>
              <a:gd name="connsiteY32" fmla="*/ 1941133 h 1941133"/>
              <a:gd name="connsiteX33" fmla="*/ 839515 w 1789743"/>
              <a:gd name="connsiteY33" fmla="*/ 1941133 h 1941133"/>
              <a:gd name="connsiteX34" fmla="*/ 796106 w 1789743"/>
              <a:gd name="connsiteY34" fmla="*/ 1929496 h 1941133"/>
              <a:gd name="connsiteX35" fmla="*/ 775461 w 1789743"/>
              <a:gd name="connsiteY35" fmla="*/ 1918916 h 1941133"/>
              <a:gd name="connsiteX36" fmla="*/ 273614 w 1789743"/>
              <a:gd name="connsiteY36" fmla="*/ 1629564 h 1941133"/>
              <a:gd name="connsiteX37" fmla="*/ 253498 w 1789743"/>
              <a:gd name="connsiteY37" fmla="*/ 1617397 h 1941133"/>
              <a:gd name="connsiteX38" fmla="*/ 221736 w 1789743"/>
              <a:gd name="connsiteY38" fmla="*/ 1585129 h 1941133"/>
              <a:gd name="connsiteX39" fmla="*/ 199502 w 1789743"/>
              <a:gd name="connsiteY39" fmla="*/ 1545985 h 1941133"/>
              <a:gd name="connsiteX40" fmla="*/ 187326 w 1789743"/>
              <a:gd name="connsiteY40" fmla="*/ 1502079 h 1941133"/>
              <a:gd name="connsiteX41" fmla="*/ 186797 w 1789743"/>
              <a:gd name="connsiteY41" fmla="*/ 1479333 h 1941133"/>
              <a:gd name="connsiteX42" fmla="*/ 185738 w 1789743"/>
              <a:gd name="connsiteY42" fmla="*/ 900628 h 1941133"/>
              <a:gd name="connsiteX43" fmla="*/ 187326 w 1789743"/>
              <a:gd name="connsiteY43" fmla="*/ 876824 h 1941133"/>
              <a:gd name="connsiteX44" fmla="*/ 198973 w 1789743"/>
              <a:gd name="connsiteY44" fmla="*/ 832919 h 1941133"/>
              <a:gd name="connsiteX45" fmla="*/ 221736 w 1789743"/>
              <a:gd name="connsiteY45" fmla="*/ 794303 h 1941133"/>
              <a:gd name="connsiteX46" fmla="*/ 253498 w 1789743"/>
              <a:gd name="connsiteY46" fmla="*/ 762035 h 1941133"/>
              <a:gd name="connsiteX47" fmla="*/ 273614 w 1789743"/>
              <a:gd name="connsiteY47" fmla="*/ 749340 h 1941133"/>
              <a:gd name="connsiteX48" fmla="*/ 365120 w 1789743"/>
              <a:gd name="connsiteY48" fmla="*/ 696524 h 1941133"/>
              <a:gd name="connsiteX49" fmla="*/ 339196 w 1789743"/>
              <a:gd name="connsiteY49" fmla="*/ 656284 h 1941133"/>
              <a:gd name="connsiteX50" fmla="*/ 291042 w 1789743"/>
              <a:gd name="connsiteY50" fmla="*/ 573139 h 1941133"/>
              <a:gd name="connsiteX51" fmla="*/ 247650 w 1789743"/>
              <a:gd name="connsiteY51" fmla="*/ 487345 h 1941133"/>
              <a:gd name="connsiteX52" fmla="*/ 207963 w 1789743"/>
              <a:gd name="connsiteY52" fmla="*/ 399433 h 1941133"/>
              <a:gd name="connsiteX53" fmla="*/ 189442 w 1789743"/>
              <a:gd name="connsiteY53" fmla="*/ 353888 h 1941133"/>
              <a:gd name="connsiteX54" fmla="*/ 151871 w 1789743"/>
              <a:gd name="connsiteY54" fmla="*/ 438623 h 1941133"/>
              <a:gd name="connsiteX55" fmla="*/ 0 w 1789743"/>
              <a:gd name="connsiteY55" fmla="*/ 479401 h 1941133"/>
              <a:gd name="connsiteX56" fmla="*/ 133879 w 1789743"/>
              <a:gd name="connsiteY56" fmla="*/ 186008 h 1941133"/>
              <a:gd name="connsiteX57" fmla="*/ 203200 w 1789743"/>
              <a:gd name="connsiteY57" fmla="*/ 34545 h 1941133"/>
              <a:gd name="connsiteX58" fmla="*/ 329671 w 1789743"/>
              <a:gd name="connsiteY58" fmla="*/ 121398 h 1941133"/>
              <a:gd name="connsiteX59" fmla="*/ 606425 w 1789743"/>
              <a:gd name="connsiteY59" fmla="*/ 313639 h 1941133"/>
              <a:gd name="connsiteX60" fmla="*/ 454554 w 1789743"/>
              <a:gd name="connsiteY60" fmla="*/ 354418 h 1941133"/>
              <a:gd name="connsiteX61" fmla="*/ 395288 w 1789743"/>
              <a:gd name="connsiteY61" fmla="*/ 314169 h 1941133"/>
              <a:gd name="connsiteX62" fmla="*/ 410634 w 1789743"/>
              <a:gd name="connsiteY62" fmla="*/ 350711 h 1941133"/>
              <a:gd name="connsiteX63" fmla="*/ 445029 w 1789743"/>
              <a:gd name="connsiteY63" fmla="*/ 422205 h 1941133"/>
              <a:gd name="connsiteX64" fmla="*/ 501121 w 1789743"/>
              <a:gd name="connsiteY64" fmla="*/ 527064 h 1941133"/>
              <a:gd name="connsiteX65" fmla="*/ 542925 w 1789743"/>
              <a:gd name="connsiteY65" fmla="*/ 593793 h 1941133"/>
              <a:gd name="connsiteX66" fmla="*/ 383766 w 1789743"/>
              <a:gd name="connsiteY66" fmla="*/ 685762 h 1941133"/>
              <a:gd name="connsiteX67" fmla="*/ 774931 w 1789743"/>
              <a:gd name="connsiteY67" fmla="*/ 459987 h 1941133"/>
              <a:gd name="connsiteX68" fmla="*/ 795577 w 1789743"/>
              <a:gd name="connsiteY68" fmla="*/ 449408 h 1941133"/>
              <a:gd name="connsiteX69" fmla="*/ 839515 w 1789743"/>
              <a:gd name="connsiteY69" fmla="*/ 437770 h 1941133"/>
              <a:gd name="connsiteX70" fmla="*/ 884512 w 1789743"/>
              <a:gd name="connsiteY70" fmla="*/ 437770 h 1941133"/>
              <a:gd name="connsiteX71" fmla="*/ 928979 w 1789743"/>
              <a:gd name="connsiteY71" fmla="*/ 449408 h 1941133"/>
              <a:gd name="connsiteX72" fmla="*/ 949625 w 1789743"/>
              <a:gd name="connsiteY72" fmla="*/ 459987 h 1941133"/>
              <a:gd name="connsiteX73" fmla="*/ 1053116 w 1789743"/>
              <a:gd name="connsiteY73" fmla="*/ 519658 h 1941133"/>
              <a:gd name="connsiteX74" fmla="*/ 1183302 w 1789743"/>
              <a:gd name="connsiteY74" fmla="*/ 298914 h 1941133"/>
              <a:gd name="connsiteX75" fmla="*/ 1271179 w 1789743"/>
              <a:gd name="connsiteY75" fmla="*/ 134283 h 194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1789743" h="1941133">
                <a:moveTo>
                  <a:pt x="1335774" y="0"/>
                </a:moveTo>
                <a:lnTo>
                  <a:pt x="1368335" y="59988"/>
                </a:lnTo>
                <a:lnTo>
                  <a:pt x="1368343" y="59998"/>
                </a:lnTo>
                <a:lnTo>
                  <a:pt x="1428149" y="136114"/>
                </a:lnTo>
                <a:lnTo>
                  <a:pt x="1442185" y="149495"/>
                </a:lnTo>
                <a:lnTo>
                  <a:pt x="1450402" y="159454"/>
                </a:lnTo>
                <a:lnTo>
                  <a:pt x="1466964" y="173119"/>
                </a:lnTo>
                <a:lnTo>
                  <a:pt x="1498130" y="202832"/>
                </a:lnTo>
                <a:lnTo>
                  <a:pt x="1533173" y="227747"/>
                </a:lnTo>
                <a:lnTo>
                  <a:pt x="1549869" y="241522"/>
                </a:lnTo>
                <a:lnTo>
                  <a:pt x="1561197" y="247671"/>
                </a:lnTo>
                <a:lnTo>
                  <a:pt x="1577137" y="259004"/>
                </a:lnTo>
                <a:cubicBezTo>
                  <a:pt x="1604851" y="275843"/>
                  <a:pt x="1633879" y="290735"/>
                  <a:pt x="1664032" y="303488"/>
                </a:cubicBezTo>
                <a:lnTo>
                  <a:pt x="1735421" y="325648"/>
                </a:lnTo>
                <a:lnTo>
                  <a:pt x="1789743" y="342510"/>
                </a:lnTo>
                <a:lnTo>
                  <a:pt x="1689390" y="438136"/>
                </a:lnTo>
                <a:lnTo>
                  <a:pt x="1560750" y="572065"/>
                </a:lnTo>
                <a:lnTo>
                  <a:pt x="1419692" y="731016"/>
                </a:lnTo>
                <a:lnTo>
                  <a:pt x="1451471" y="749340"/>
                </a:lnTo>
                <a:lnTo>
                  <a:pt x="1470528" y="761506"/>
                </a:lnTo>
                <a:lnTo>
                  <a:pt x="1503350" y="794303"/>
                </a:lnTo>
                <a:lnTo>
                  <a:pt x="1525583" y="832919"/>
                </a:lnTo>
                <a:lnTo>
                  <a:pt x="1537759" y="876824"/>
                </a:lnTo>
                <a:lnTo>
                  <a:pt x="1538288" y="900099"/>
                </a:lnTo>
                <a:lnTo>
                  <a:pt x="1538288" y="1478275"/>
                </a:lnTo>
                <a:lnTo>
                  <a:pt x="1537759" y="1502079"/>
                </a:lnTo>
                <a:lnTo>
                  <a:pt x="1525583" y="1545985"/>
                </a:lnTo>
                <a:lnTo>
                  <a:pt x="1503350" y="1585129"/>
                </a:lnTo>
                <a:lnTo>
                  <a:pt x="1471587" y="1616868"/>
                </a:lnTo>
                <a:lnTo>
                  <a:pt x="1451471" y="1629564"/>
                </a:lnTo>
                <a:lnTo>
                  <a:pt x="950154" y="1918916"/>
                </a:lnTo>
                <a:lnTo>
                  <a:pt x="928979" y="1929496"/>
                </a:lnTo>
                <a:lnTo>
                  <a:pt x="885570" y="1941133"/>
                </a:lnTo>
                <a:lnTo>
                  <a:pt x="839515" y="1941133"/>
                </a:lnTo>
                <a:lnTo>
                  <a:pt x="796106" y="1929496"/>
                </a:lnTo>
                <a:lnTo>
                  <a:pt x="775461" y="1918916"/>
                </a:lnTo>
                <a:lnTo>
                  <a:pt x="273614" y="1629564"/>
                </a:lnTo>
                <a:lnTo>
                  <a:pt x="253498" y="1617397"/>
                </a:lnTo>
                <a:lnTo>
                  <a:pt x="221736" y="1585129"/>
                </a:lnTo>
                <a:lnTo>
                  <a:pt x="199502" y="1545985"/>
                </a:lnTo>
                <a:lnTo>
                  <a:pt x="187326" y="1502079"/>
                </a:lnTo>
                <a:lnTo>
                  <a:pt x="186797" y="1479333"/>
                </a:lnTo>
                <a:lnTo>
                  <a:pt x="185738" y="900628"/>
                </a:lnTo>
                <a:lnTo>
                  <a:pt x="187326" y="876824"/>
                </a:lnTo>
                <a:lnTo>
                  <a:pt x="198973" y="832919"/>
                </a:lnTo>
                <a:lnTo>
                  <a:pt x="221736" y="794303"/>
                </a:lnTo>
                <a:lnTo>
                  <a:pt x="253498" y="762035"/>
                </a:lnTo>
                <a:lnTo>
                  <a:pt x="273614" y="749340"/>
                </a:lnTo>
                <a:lnTo>
                  <a:pt x="365120" y="696524"/>
                </a:lnTo>
                <a:lnTo>
                  <a:pt x="339196" y="656284"/>
                </a:lnTo>
                <a:lnTo>
                  <a:pt x="291042" y="573139"/>
                </a:lnTo>
                <a:lnTo>
                  <a:pt x="247650" y="487345"/>
                </a:lnTo>
                <a:lnTo>
                  <a:pt x="207963" y="399433"/>
                </a:lnTo>
                <a:lnTo>
                  <a:pt x="189442" y="353888"/>
                </a:lnTo>
                <a:lnTo>
                  <a:pt x="151871" y="438623"/>
                </a:lnTo>
                <a:lnTo>
                  <a:pt x="0" y="479401"/>
                </a:lnTo>
                <a:lnTo>
                  <a:pt x="133879" y="186008"/>
                </a:lnTo>
                <a:lnTo>
                  <a:pt x="203200" y="34545"/>
                </a:lnTo>
                <a:lnTo>
                  <a:pt x="329671" y="121398"/>
                </a:lnTo>
                <a:lnTo>
                  <a:pt x="606425" y="313639"/>
                </a:lnTo>
                <a:lnTo>
                  <a:pt x="454554" y="354418"/>
                </a:lnTo>
                <a:lnTo>
                  <a:pt x="395288" y="314169"/>
                </a:lnTo>
                <a:lnTo>
                  <a:pt x="410634" y="350711"/>
                </a:lnTo>
                <a:lnTo>
                  <a:pt x="445029" y="422205"/>
                </a:lnTo>
                <a:lnTo>
                  <a:pt x="501121" y="527064"/>
                </a:lnTo>
                <a:lnTo>
                  <a:pt x="542925" y="593793"/>
                </a:lnTo>
                <a:lnTo>
                  <a:pt x="383766" y="685762"/>
                </a:lnTo>
                <a:lnTo>
                  <a:pt x="774931" y="459987"/>
                </a:lnTo>
                <a:lnTo>
                  <a:pt x="795577" y="449408"/>
                </a:lnTo>
                <a:lnTo>
                  <a:pt x="839515" y="437770"/>
                </a:lnTo>
                <a:lnTo>
                  <a:pt x="884512" y="437770"/>
                </a:lnTo>
                <a:lnTo>
                  <a:pt x="928979" y="449408"/>
                </a:lnTo>
                <a:lnTo>
                  <a:pt x="949625" y="459987"/>
                </a:lnTo>
                <a:lnTo>
                  <a:pt x="1053116" y="519658"/>
                </a:lnTo>
                <a:lnTo>
                  <a:pt x="1183302" y="298914"/>
                </a:lnTo>
                <a:lnTo>
                  <a:pt x="1271179" y="13428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CA3CFC4-AB96-48B6-B8F4-6B8E367C1CA7}"/>
              </a:ext>
            </a:extLst>
          </p:cNvPr>
          <p:cNvSpPr>
            <a:spLocks/>
          </p:cNvSpPr>
          <p:nvPr/>
        </p:nvSpPr>
        <p:spPr bwMode="auto">
          <a:xfrm>
            <a:off x="6097588" y="2734078"/>
            <a:ext cx="266650" cy="389565"/>
          </a:xfrm>
          <a:custGeom>
            <a:avLst/>
            <a:gdLst>
              <a:gd name="connsiteX0" fmla="*/ 217867 w 266650"/>
              <a:gd name="connsiteY0" fmla="*/ 0 h 389565"/>
              <a:gd name="connsiteX1" fmla="*/ 233868 w 266650"/>
              <a:gd name="connsiteY1" fmla="*/ 161225 h 389565"/>
              <a:gd name="connsiteX2" fmla="*/ 258792 w 266650"/>
              <a:gd name="connsiteY2" fmla="*/ 345828 h 389565"/>
              <a:gd name="connsiteX3" fmla="*/ 266650 w 266650"/>
              <a:gd name="connsiteY3" fmla="*/ 389565 h 389565"/>
              <a:gd name="connsiteX4" fmla="*/ 261092 w 266650"/>
              <a:gd name="connsiteY4" fmla="*/ 387225 h 389565"/>
              <a:gd name="connsiteX5" fmla="*/ 205596 w 266650"/>
              <a:gd name="connsiteY5" fmla="*/ 368222 h 389565"/>
              <a:gd name="connsiteX6" fmla="*/ 148515 w 266650"/>
              <a:gd name="connsiteY6" fmla="*/ 354498 h 389565"/>
              <a:gd name="connsiteX7" fmla="*/ 89848 w 266650"/>
              <a:gd name="connsiteY7" fmla="*/ 344997 h 389565"/>
              <a:gd name="connsiteX8" fmla="*/ 29067 w 266650"/>
              <a:gd name="connsiteY8" fmla="*/ 339719 h 389565"/>
              <a:gd name="connsiteX9" fmla="*/ 0 w 266650"/>
              <a:gd name="connsiteY9" fmla="*/ 338718 h 389565"/>
              <a:gd name="connsiteX10" fmla="*/ 0 w 266650"/>
              <a:gd name="connsiteY10" fmla="*/ 97363 h 389565"/>
              <a:gd name="connsiteX11" fmla="*/ 22499 w 266650"/>
              <a:gd name="connsiteY11" fmla="*/ 97363 h 389565"/>
              <a:gd name="connsiteX12" fmla="*/ 66966 w 266650"/>
              <a:gd name="connsiteY12" fmla="*/ 85713 h 389565"/>
              <a:gd name="connsiteX13" fmla="*/ 87612 w 266650"/>
              <a:gd name="connsiteY13" fmla="*/ 75123 h 389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6650" h="389565">
                <a:moveTo>
                  <a:pt x="217867" y="0"/>
                </a:moveTo>
                <a:lnTo>
                  <a:pt x="233868" y="161225"/>
                </a:lnTo>
                <a:lnTo>
                  <a:pt x="258792" y="345828"/>
                </a:lnTo>
                <a:lnTo>
                  <a:pt x="266650" y="389565"/>
                </a:lnTo>
                <a:lnTo>
                  <a:pt x="261092" y="387225"/>
                </a:lnTo>
                <a:lnTo>
                  <a:pt x="205596" y="368222"/>
                </a:lnTo>
                <a:lnTo>
                  <a:pt x="148515" y="354498"/>
                </a:lnTo>
                <a:lnTo>
                  <a:pt x="89848" y="344997"/>
                </a:lnTo>
                <a:lnTo>
                  <a:pt x="29067" y="339719"/>
                </a:lnTo>
                <a:lnTo>
                  <a:pt x="0" y="338718"/>
                </a:lnTo>
                <a:lnTo>
                  <a:pt x="0" y="97363"/>
                </a:lnTo>
                <a:lnTo>
                  <a:pt x="22499" y="97363"/>
                </a:lnTo>
                <a:lnTo>
                  <a:pt x="66966" y="85713"/>
                </a:lnTo>
                <a:lnTo>
                  <a:pt x="87612" y="75123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D437F7E3-0853-4C12-A5F0-4D3C6E2AB85C}"/>
              </a:ext>
            </a:extLst>
          </p:cNvPr>
          <p:cNvSpPr>
            <a:spLocks/>
          </p:cNvSpPr>
          <p:nvPr/>
        </p:nvSpPr>
        <p:spPr bwMode="auto">
          <a:xfrm>
            <a:off x="4963393" y="3234805"/>
            <a:ext cx="552151" cy="349993"/>
          </a:xfrm>
          <a:custGeom>
            <a:avLst/>
            <a:gdLst>
              <a:gd name="connsiteX0" fmla="*/ 3502 w 552151"/>
              <a:gd name="connsiteY0" fmla="*/ 0 h 349993"/>
              <a:gd name="connsiteX1" fmla="*/ 64144 w 552151"/>
              <a:gd name="connsiteY1" fmla="*/ 15737 h 349993"/>
              <a:gd name="connsiteX2" fmla="*/ 321749 w 552151"/>
              <a:gd name="connsiteY2" fmla="*/ 72887 h 349993"/>
              <a:gd name="connsiteX3" fmla="*/ 504770 w 552151"/>
              <a:gd name="connsiteY3" fmla="*/ 105695 h 349993"/>
              <a:gd name="connsiteX4" fmla="*/ 552151 w 552151"/>
              <a:gd name="connsiteY4" fmla="*/ 112214 h 349993"/>
              <a:gd name="connsiteX5" fmla="*/ 543440 w 552151"/>
              <a:gd name="connsiteY5" fmla="*/ 122285 h 349993"/>
              <a:gd name="connsiteX6" fmla="*/ 509630 w 552151"/>
              <a:gd name="connsiteY6" fmla="*/ 170503 h 349993"/>
              <a:gd name="connsiteX7" fmla="*/ 478461 w 552151"/>
              <a:gd name="connsiteY7" fmla="*/ 220840 h 349993"/>
              <a:gd name="connsiteX8" fmla="*/ 451518 w 552151"/>
              <a:gd name="connsiteY8" fmla="*/ 273297 h 349993"/>
              <a:gd name="connsiteX9" fmla="*/ 428801 w 552151"/>
              <a:gd name="connsiteY9" fmla="*/ 328403 h 349993"/>
              <a:gd name="connsiteX10" fmla="*/ 422025 w 552151"/>
              <a:gd name="connsiteY10" fmla="*/ 349993 h 349993"/>
              <a:gd name="connsiteX11" fmla="*/ 0 w 552151"/>
              <a:gd name="connsiteY11" fmla="*/ 212800 h 349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52151" h="349993">
                <a:moveTo>
                  <a:pt x="3502" y="0"/>
                </a:moveTo>
                <a:lnTo>
                  <a:pt x="64144" y="15737"/>
                </a:lnTo>
                <a:lnTo>
                  <a:pt x="321749" y="72887"/>
                </a:lnTo>
                <a:lnTo>
                  <a:pt x="504770" y="105695"/>
                </a:lnTo>
                <a:lnTo>
                  <a:pt x="552151" y="112214"/>
                </a:lnTo>
                <a:lnTo>
                  <a:pt x="543440" y="122285"/>
                </a:lnTo>
                <a:lnTo>
                  <a:pt x="509630" y="170503"/>
                </a:lnTo>
                <a:lnTo>
                  <a:pt x="478461" y="220840"/>
                </a:lnTo>
                <a:lnTo>
                  <a:pt x="451518" y="273297"/>
                </a:lnTo>
                <a:lnTo>
                  <a:pt x="428801" y="328403"/>
                </a:lnTo>
                <a:lnTo>
                  <a:pt x="422025" y="349993"/>
                </a:lnTo>
                <a:lnTo>
                  <a:pt x="0" y="212800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D04AE8CE-4193-4D8F-92C6-51214B48769E}"/>
              </a:ext>
            </a:extLst>
          </p:cNvPr>
          <p:cNvSpPr>
            <a:spLocks/>
          </p:cNvSpPr>
          <p:nvPr/>
        </p:nvSpPr>
        <p:spPr bwMode="auto">
          <a:xfrm>
            <a:off x="5223351" y="4132155"/>
            <a:ext cx="473898" cy="624192"/>
          </a:xfrm>
          <a:custGeom>
            <a:avLst/>
            <a:gdLst>
              <a:gd name="connsiteX0" fmla="*/ 282880 w 473898"/>
              <a:gd name="connsiteY0" fmla="*/ 0 h 624192"/>
              <a:gd name="connsiteX1" fmla="*/ 315347 w 473898"/>
              <a:gd name="connsiteY1" fmla="*/ 59816 h 624192"/>
              <a:gd name="connsiteX2" fmla="*/ 397414 w 473898"/>
              <a:gd name="connsiteY2" fmla="*/ 159282 h 624192"/>
              <a:gd name="connsiteX3" fmla="*/ 473898 w 473898"/>
              <a:gd name="connsiteY3" fmla="*/ 222387 h 624192"/>
              <a:gd name="connsiteX4" fmla="*/ 181729 w 473898"/>
              <a:gd name="connsiteY4" fmla="*/ 624192 h 624192"/>
              <a:gd name="connsiteX5" fmla="*/ 0 w 473898"/>
              <a:gd name="connsiteY5" fmla="*/ 519411 h 624192"/>
              <a:gd name="connsiteX6" fmla="*/ 130475 w 473898"/>
              <a:gd name="connsiteY6" fmla="*/ 298427 h 624192"/>
              <a:gd name="connsiteX7" fmla="*/ 218418 w 473898"/>
              <a:gd name="connsiteY7" fmla="*/ 133856 h 62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3898" h="624192">
                <a:moveTo>
                  <a:pt x="282880" y="0"/>
                </a:moveTo>
                <a:lnTo>
                  <a:pt x="315347" y="59816"/>
                </a:lnTo>
                <a:cubicBezTo>
                  <a:pt x="339502" y="95571"/>
                  <a:pt x="367008" y="128877"/>
                  <a:pt x="397414" y="159282"/>
                </a:cubicBezTo>
                <a:lnTo>
                  <a:pt x="473898" y="222387"/>
                </a:lnTo>
                <a:lnTo>
                  <a:pt x="181729" y="624192"/>
                </a:lnTo>
                <a:lnTo>
                  <a:pt x="0" y="519411"/>
                </a:lnTo>
                <a:lnTo>
                  <a:pt x="130475" y="298427"/>
                </a:lnTo>
                <a:lnTo>
                  <a:pt x="218418" y="133856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5774ADD6-9096-4368-ACCA-6E2048516370}"/>
              </a:ext>
            </a:extLst>
          </p:cNvPr>
          <p:cNvSpPr>
            <a:spLocks/>
          </p:cNvSpPr>
          <p:nvPr/>
        </p:nvSpPr>
        <p:spPr bwMode="auto">
          <a:xfrm>
            <a:off x="6278227" y="4427650"/>
            <a:ext cx="491971" cy="442481"/>
          </a:xfrm>
          <a:custGeom>
            <a:avLst/>
            <a:gdLst>
              <a:gd name="connsiteX0" fmla="*/ 247523 w 491971"/>
              <a:gd name="connsiteY0" fmla="*/ 0 h 442481"/>
              <a:gd name="connsiteX1" fmla="*/ 491971 w 491971"/>
              <a:gd name="connsiteY1" fmla="*/ 336111 h 442481"/>
              <a:gd name="connsiteX2" fmla="*/ 305410 w 491971"/>
              <a:gd name="connsiteY2" fmla="*/ 442481 h 442481"/>
              <a:gd name="connsiteX3" fmla="*/ 164514 w 491971"/>
              <a:gd name="connsiteY3" fmla="*/ 283779 h 442481"/>
              <a:gd name="connsiteX4" fmla="*/ 36338 w 491971"/>
              <a:gd name="connsiteY4" fmla="*/ 148780 h 442481"/>
              <a:gd name="connsiteX5" fmla="*/ 0 w 491971"/>
              <a:gd name="connsiteY5" fmla="*/ 114168 h 442481"/>
              <a:gd name="connsiteX6" fmla="*/ 23870 w 491971"/>
              <a:gd name="connsiteY6" fmla="*/ 108621 h 442481"/>
              <a:gd name="connsiteX7" fmla="*/ 78440 w 491971"/>
              <a:gd name="connsiteY7" fmla="*/ 90006 h 442481"/>
              <a:gd name="connsiteX8" fmla="*/ 131421 w 491971"/>
              <a:gd name="connsiteY8" fmla="*/ 67668 h 442481"/>
              <a:gd name="connsiteX9" fmla="*/ 182283 w 491971"/>
              <a:gd name="connsiteY9" fmla="*/ 41076 h 442481"/>
              <a:gd name="connsiteX10" fmla="*/ 231026 w 491971"/>
              <a:gd name="connsiteY10" fmla="*/ 11292 h 442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91971" h="442481">
                <a:moveTo>
                  <a:pt x="247523" y="0"/>
                </a:moveTo>
                <a:lnTo>
                  <a:pt x="491971" y="336111"/>
                </a:lnTo>
                <a:lnTo>
                  <a:pt x="305410" y="442481"/>
                </a:lnTo>
                <a:lnTo>
                  <a:pt x="164514" y="283779"/>
                </a:lnTo>
                <a:lnTo>
                  <a:pt x="36338" y="148780"/>
                </a:lnTo>
                <a:lnTo>
                  <a:pt x="0" y="114168"/>
                </a:lnTo>
                <a:lnTo>
                  <a:pt x="23870" y="108621"/>
                </a:lnTo>
                <a:lnTo>
                  <a:pt x="78440" y="90006"/>
                </a:lnTo>
                <a:lnTo>
                  <a:pt x="131421" y="67668"/>
                </a:lnTo>
                <a:lnTo>
                  <a:pt x="182283" y="41076"/>
                </a:lnTo>
                <a:lnTo>
                  <a:pt x="231026" y="11292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877E489E-9627-43B1-8619-5E1AF7393A32}"/>
              </a:ext>
            </a:extLst>
          </p:cNvPr>
          <p:cNvSpPr>
            <a:spLocks/>
          </p:cNvSpPr>
          <p:nvPr/>
        </p:nvSpPr>
        <p:spPr bwMode="auto">
          <a:xfrm>
            <a:off x="6806538" y="3458337"/>
            <a:ext cx="424525" cy="407054"/>
          </a:xfrm>
          <a:custGeom>
            <a:avLst/>
            <a:gdLst>
              <a:gd name="connsiteX0" fmla="*/ 424525 w 424525"/>
              <a:gd name="connsiteY0" fmla="*/ 0 h 407054"/>
              <a:gd name="connsiteX1" fmla="*/ 424525 w 424525"/>
              <a:gd name="connsiteY1" fmla="*/ 224317 h 407054"/>
              <a:gd name="connsiteX2" fmla="*/ 240157 w 424525"/>
              <a:gd name="connsiteY2" fmla="*/ 304437 h 407054"/>
              <a:gd name="connsiteX3" fmla="*/ 72550 w 424525"/>
              <a:gd name="connsiteY3" fmla="*/ 385399 h 407054"/>
              <a:gd name="connsiteX4" fmla="*/ 32386 w 424525"/>
              <a:gd name="connsiteY4" fmla="*/ 407054 h 407054"/>
              <a:gd name="connsiteX5" fmla="*/ 34000 w 424525"/>
              <a:gd name="connsiteY5" fmla="*/ 390457 h 407054"/>
              <a:gd name="connsiteX6" fmla="*/ 34000 w 424525"/>
              <a:gd name="connsiteY6" fmla="*/ 359730 h 407054"/>
              <a:gd name="connsiteX7" fmla="*/ 34000 w 424525"/>
              <a:gd name="connsiteY7" fmla="*/ 331122 h 407054"/>
              <a:gd name="connsiteX8" fmla="*/ 29238 w 424525"/>
              <a:gd name="connsiteY8" fmla="*/ 272317 h 407054"/>
              <a:gd name="connsiteX9" fmla="*/ 20242 w 424525"/>
              <a:gd name="connsiteY9" fmla="*/ 215631 h 407054"/>
              <a:gd name="connsiteX10" fmla="*/ 7013 w 424525"/>
              <a:gd name="connsiteY10" fmla="*/ 160005 h 407054"/>
              <a:gd name="connsiteX11" fmla="*/ 0 w 424525"/>
              <a:gd name="connsiteY11" fmla="*/ 138066 h 407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4525" h="407054">
                <a:moveTo>
                  <a:pt x="424525" y="0"/>
                </a:moveTo>
                <a:lnTo>
                  <a:pt x="424525" y="224317"/>
                </a:lnTo>
                <a:lnTo>
                  <a:pt x="240157" y="304437"/>
                </a:lnTo>
                <a:lnTo>
                  <a:pt x="72550" y="385399"/>
                </a:lnTo>
                <a:lnTo>
                  <a:pt x="32386" y="407054"/>
                </a:lnTo>
                <a:lnTo>
                  <a:pt x="34000" y="390457"/>
                </a:lnTo>
                <a:lnTo>
                  <a:pt x="34000" y="359730"/>
                </a:lnTo>
                <a:lnTo>
                  <a:pt x="34000" y="331122"/>
                </a:lnTo>
                <a:lnTo>
                  <a:pt x="29238" y="272317"/>
                </a:lnTo>
                <a:lnTo>
                  <a:pt x="20242" y="215631"/>
                </a:lnTo>
                <a:lnTo>
                  <a:pt x="7013" y="160005"/>
                </a:lnTo>
                <a:lnTo>
                  <a:pt x="0" y="138066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6" name="Freeform 340">
            <a:extLst>
              <a:ext uri="{FF2B5EF4-FFF2-40B4-BE49-F238E27FC236}">
                <a16:creationId xmlns:a16="http://schemas.microsoft.com/office/drawing/2014/main" id="{F28F4D4D-288E-4709-9274-9CEC55E3405F}"/>
              </a:ext>
            </a:extLst>
          </p:cNvPr>
          <p:cNvSpPr>
            <a:spLocks/>
          </p:cNvSpPr>
          <p:nvPr/>
        </p:nvSpPr>
        <p:spPr bwMode="auto">
          <a:xfrm>
            <a:off x="5600701" y="1504290"/>
            <a:ext cx="995363" cy="1149350"/>
          </a:xfrm>
          <a:custGeom>
            <a:avLst/>
            <a:gdLst>
              <a:gd name="T0" fmla="*/ 1881 w 1881"/>
              <a:gd name="T1" fmla="*/ 1628 h 2171"/>
              <a:gd name="T2" fmla="*/ 940 w 1881"/>
              <a:gd name="T3" fmla="*/ 2171 h 2171"/>
              <a:gd name="T4" fmla="*/ 0 w 1881"/>
              <a:gd name="T5" fmla="*/ 1628 h 2171"/>
              <a:gd name="T6" fmla="*/ 0 w 1881"/>
              <a:gd name="T7" fmla="*/ 542 h 2171"/>
              <a:gd name="T8" fmla="*/ 941 w 1881"/>
              <a:gd name="T9" fmla="*/ 0 h 2171"/>
              <a:gd name="T10" fmla="*/ 1881 w 1881"/>
              <a:gd name="T11" fmla="*/ 542 h 2171"/>
              <a:gd name="T12" fmla="*/ 1881 w 1881"/>
              <a:gd name="T13" fmla="*/ 1628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1" h="2171">
                <a:moveTo>
                  <a:pt x="1881" y="1628"/>
                </a:moveTo>
                <a:lnTo>
                  <a:pt x="940" y="2171"/>
                </a:lnTo>
                <a:lnTo>
                  <a:pt x="0" y="1628"/>
                </a:lnTo>
                <a:lnTo>
                  <a:pt x="0" y="542"/>
                </a:lnTo>
                <a:lnTo>
                  <a:pt x="941" y="0"/>
                </a:lnTo>
                <a:lnTo>
                  <a:pt x="1881" y="542"/>
                </a:lnTo>
                <a:lnTo>
                  <a:pt x="1881" y="16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41">
            <a:extLst>
              <a:ext uri="{FF2B5EF4-FFF2-40B4-BE49-F238E27FC236}">
                <a16:creationId xmlns:a16="http://schemas.microsoft.com/office/drawing/2014/main" id="{9B785D6D-E950-49ED-B5EB-42606F869868}"/>
              </a:ext>
            </a:extLst>
          </p:cNvPr>
          <p:cNvSpPr>
            <a:spLocks/>
          </p:cNvSpPr>
          <p:nvPr/>
        </p:nvSpPr>
        <p:spPr bwMode="auto">
          <a:xfrm>
            <a:off x="5600701" y="1504290"/>
            <a:ext cx="995363" cy="1149350"/>
          </a:xfrm>
          <a:custGeom>
            <a:avLst/>
            <a:gdLst>
              <a:gd name="T0" fmla="*/ 1881 w 1881"/>
              <a:gd name="T1" fmla="*/ 1628 h 2171"/>
              <a:gd name="T2" fmla="*/ 940 w 1881"/>
              <a:gd name="T3" fmla="*/ 2171 h 2171"/>
              <a:gd name="T4" fmla="*/ 0 w 1881"/>
              <a:gd name="T5" fmla="*/ 1628 h 2171"/>
              <a:gd name="T6" fmla="*/ 0 w 1881"/>
              <a:gd name="T7" fmla="*/ 542 h 2171"/>
              <a:gd name="T8" fmla="*/ 941 w 1881"/>
              <a:gd name="T9" fmla="*/ 0 h 2171"/>
              <a:gd name="T10" fmla="*/ 1881 w 1881"/>
              <a:gd name="T11" fmla="*/ 542 h 2171"/>
              <a:gd name="T12" fmla="*/ 1881 w 1881"/>
              <a:gd name="T13" fmla="*/ 1628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1" h="2171">
                <a:moveTo>
                  <a:pt x="1881" y="1628"/>
                </a:moveTo>
                <a:lnTo>
                  <a:pt x="940" y="2171"/>
                </a:lnTo>
                <a:lnTo>
                  <a:pt x="0" y="1628"/>
                </a:lnTo>
                <a:lnTo>
                  <a:pt x="0" y="542"/>
                </a:lnTo>
                <a:lnTo>
                  <a:pt x="941" y="0"/>
                </a:lnTo>
                <a:lnTo>
                  <a:pt x="1881" y="542"/>
                </a:lnTo>
                <a:lnTo>
                  <a:pt x="1881" y="16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>
                <a:solidFill>
                  <a:schemeClr val="accent1">
                    <a:lumMod val="50000"/>
                  </a:schemeClr>
                </a:solidFill>
              </a:rPr>
              <a:t>01</a:t>
            </a:r>
          </a:p>
        </p:txBody>
      </p:sp>
      <p:sp>
        <p:nvSpPr>
          <p:cNvPr id="48" name="Freeform 376">
            <a:extLst>
              <a:ext uri="{FF2B5EF4-FFF2-40B4-BE49-F238E27FC236}">
                <a16:creationId xmlns:a16="http://schemas.microsoft.com/office/drawing/2014/main" id="{4B19C704-6766-4B9D-B87E-47FF505E6115}"/>
              </a:ext>
            </a:extLst>
          </p:cNvPr>
          <p:cNvSpPr>
            <a:spLocks/>
          </p:cNvSpPr>
          <p:nvPr/>
        </p:nvSpPr>
        <p:spPr bwMode="auto">
          <a:xfrm>
            <a:off x="3786188" y="2818740"/>
            <a:ext cx="1004888" cy="1149350"/>
          </a:xfrm>
          <a:custGeom>
            <a:avLst/>
            <a:gdLst>
              <a:gd name="T0" fmla="*/ 1880 w 1897"/>
              <a:gd name="T1" fmla="*/ 1642 h 2171"/>
              <a:gd name="T2" fmla="*/ 931 w 1897"/>
              <a:gd name="T3" fmla="*/ 2171 h 2171"/>
              <a:gd name="T4" fmla="*/ 0 w 1897"/>
              <a:gd name="T5" fmla="*/ 1614 h 2171"/>
              <a:gd name="T6" fmla="*/ 15 w 1897"/>
              <a:gd name="T7" fmla="*/ 530 h 2171"/>
              <a:gd name="T8" fmla="*/ 964 w 1897"/>
              <a:gd name="T9" fmla="*/ 0 h 2171"/>
              <a:gd name="T10" fmla="*/ 1897 w 1897"/>
              <a:gd name="T11" fmla="*/ 557 h 2171"/>
              <a:gd name="T12" fmla="*/ 1880 w 1897"/>
              <a:gd name="T13" fmla="*/ 1642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7" h="2171">
                <a:moveTo>
                  <a:pt x="1880" y="1642"/>
                </a:moveTo>
                <a:lnTo>
                  <a:pt x="931" y="2171"/>
                </a:lnTo>
                <a:lnTo>
                  <a:pt x="0" y="1614"/>
                </a:lnTo>
                <a:lnTo>
                  <a:pt x="15" y="530"/>
                </a:lnTo>
                <a:lnTo>
                  <a:pt x="964" y="0"/>
                </a:lnTo>
                <a:lnTo>
                  <a:pt x="1897" y="557"/>
                </a:lnTo>
                <a:lnTo>
                  <a:pt x="1880" y="16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377">
            <a:extLst>
              <a:ext uri="{FF2B5EF4-FFF2-40B4-BE49-F238E27FC236}">
                <a16:creationId xmlns:a16="http://schemas.microsoft.com/office/drawing/2014/main" id="{C415F39F-7FB5-4B6E-844E-2F2CBC5D6BE9}"/>
              </a:ext>
            </a:extLst>
          </p:cNvPr>
          <p:cNvSpPr>
            <a:spLocks/>
          </p:cNvSpPr>
          <p:nvPr/>
        </p:nvSpPr>
        <p:spPr bwMode="auto">
          <a:xfrm>
            <a:off x="3786188" y="2818740"/>
            <a:ext cx="1004888" cy="1149350"/>
          </a:xfrm>
          <a:custGeom>
            <a:avLst/>
            <a:gdLst>
              <a:gd name="T0" fmla="*/ 1880 w 1897"/>
              <a:gd name="T1" fmla="*/ 1642 h 2171"/>
              <a:gd name="T2" fmla="*/ 931 w 1897"/>
              <a:gd name="T3" fmla="*/ 2171 h 2171"/>
              <a:gd name="T4" fmla="*/ 0 w 1897"/>
              <a:gd name="T5" fmla="*/ 1614 h 2171"/>
              <a:gd name="T6" fmla="*/ 15 w 1897"/>
              <a:gd name="T7" fmla="*/ 530 h 2171"/>
              <a:gd name="T8" fmla="*/ 964 w 1897"/>
              <a:gd name="T9" fmla="*/ 0 h 2171"/>
              <a:gd name="T10" fmla="*/ 1897 w 1897"/>
              <a:gd name="T11" fmla="*/ 557 h 2171"/>
              <a:gd name="T12" fmla="*/ 1880 w 1897"/>
              <a:gd name="T13" fmla="*/ 1642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7" h="2171">
                <a:moveTo>
                  <a:pt x="1880" y="1642"/>
                </a:moveTo>
                <a:lnTo>
                  <a:pt x="931" y="2171"/>
                </a:lnTo>
                <a:lnTo>
                  <a:pt x="0" y="1614"/>
                </a:lnTo>
                <a:lnTo>
                  <a:pt x="15" y="530"/>
                </a:lnTo>
                <a:lnTo>
                  <a:pt x="964" y="0"/>
                </a:lnTo>
                <a:lnTo>
                  <a:pt x="1897" y="557"/>
                </a:lnTo>
                <a:lnTo>
                  <a:pt x="1880" y="16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>
                <a:solidFill>
                  <a:schemeClr val="accent5">
                    <a:lumMod val="50000"/>
                  </a:schemeClr>
                </a:solidFill>
              </a:rPr>
              <a:t>05</a:t>
            </a:r>
          </a:p>
        </p:txBody>
      </p:sp>
      <p:sp>
        <p:nvSpPr>
          <p:cNvPr id="50" name="Freeform 391">
            <a:extLst>
              <a:ext uri="{FF2B5EF4-FFF2-40B4-BE49-F238E27FC236}">
                <a16:creationId xmlns:a16="http://schemas.microsoft.com/office/drawing/2014/main" id="{6255494A-98A5-4C45-8F5E-51F59F9A2E93}"/>
              </a:ext>
            </a:extLst>
          </p:cNvPr>
          <p:cNvSpPr>
            <a:spLocks/>
          </p:cNvSpPr>
          <p:nvPr/>
        </p:nvSpPr>
        <p:spPr bwMode="auto">
          <a:xfrm>
            <a:off x="4535488" y="4747553"/>
            <a:ext cx="995363" cy="1149350"/>
          </a:xfrm>
          <a:custGeom>
            <a:avLst/>
            <a:gdLst>
              <a:gd name="T0" fmla="*/ 0 w 1880"/>
              <a:gd name="T1" fmla="*/ 543 h 2172"/>
              <a:gd name="T2" fmla="*/ 940 w 1880"/>
              <a:gd name="T3" fmla="*/ 0 h 2172"/>
              <a:gd name="T4" fmla="*/ 1880 w 1880"/>
              <a:gd name="T5" fmla="*/ 543 h 2172"/>
              <a:gd name="T6" fmla="*/ 1880 w 1880"/>
              <a:gd name="T7" fmla="*/ 1629 h 2172"/>
              <a:gd name="T8" fmla="*/ 940 w 1880"/>
              <a:gd name="T9" fmla="*/ 2172 h 2172"/>
              <a:gd name="T10" fmla="*/ 0 w 1880"/>
              <a:gd name="T11" fmla="*/ 1629 h 2172"/>
              <a:gd name="T12" fmla="*/ 0 w 1880"/>
              <a:gd name="T13" fmla="*/ 543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0" h="2172">
                <a:moveTo>
                  <a:pt x="0" y="543"/>
                </a:moveTo>
                <a:lnTo>
                  <a:pt x="940" y="0"/>
                </a:lnTo>
                <a:lnTo>
                  <a:pt x="1880" y="543"/>
                </a:lnTo>
                <a:lnTo>
                  <a:pt x="1880" y="1629"/>
                </a:lnTo>
                <a:lnTo>
                  <a:pt x="940" y="2172"/>
                </a:lnTo>
                <a:lnTo>
                  <a:pt x="0" y="1629"/>
                </a:lnTo>
                <a:lnTo>
                  <a:pt x="0" y="5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92">
            <a:extLst>
              <a:ext uri="{FF2B5EF4-FFF2-40B4-BE49-F238E27FC236}">
                <a16:creationId xmlns:a16="http://schemas.microsoft.com/office/drawing/2014/main" id="{012EF6F6-69A6-4B14-BF24-F93CA0B62D91}"/>
              </a:ext>
            </a:extLst>
          </p:cNvPr>
          <p:cNvSpPr>
            <a:spLocks/>
          </p:cNvSpPr>
          <p:nvPr/>
        </p:nvSpPr>
        <p:spPr bwMode="auto">
          <a:xfrm>
            <a:off x="4535488" y="4747553"/>
            <a:ext cx="995363" cy="1149350"/>
          </a:xfrm>
          <a:custGeom>
            <a:avLst/>
            <a:gdLst>
              <a:gd name="T0" fmla="*/ 0 w 1880"/>
              <a:gd name="T1" fmla="*/ 543 h 2172"/>
              <a:gd name="T2" fmla="*/ 940 w 1880"/>
              <a:gd name="T3" fmla="*/ 0 h 2172"/>
              <a:gd name="T4" fmla="*/ 1880 w 1880"/>
              <a:gd name="T5" fmla="*/ 543 h 2172"/>
              <a:gd name="T6" fmla="*/ 1880 w 1880"/>
              <a:gd name="T7" fmla="*/ 1629 h 2172"/>
              <a:gd name="T8" fmla="*/ 940 w 1880"/>
              <a:gd name="T9" fmla="*/ 2172 h 2172"/>
              <a:gd name="T10" fmla="*/ 0 w 1880"/>
              <a:gd name="T11" fmla="*/ 1629 h 2172"/>
              <a:gd name="T12" fmla="*/ 0 w 1880"/>
              <a:gd name="T13" fmla="*/ 543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0" h="2172">
                <a:moveTo>
                  <a:pt x="0" y="543"/>
                </a:moveTo>
                <a:lnTo>
                  <a:pt x="940" y="0"/>
                </a:lnTo>
                <a:lnTo>
                  <a:pt x="1880" y="543"/>
                </a:lnTo>
                <a:lnTo>
                  <a:pt x="1880" y="1629"/>
                </a:lnTo>
                <a:lnTo>
                  <a:pt x="940" y="2172"/>
                </a:lnTo>
                <a:lnTo>
                  <a:pt x="0" y="1629"/>
                </a:lnTo>
                <a:lnTo>
                  <a:pt x="0" y="5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 dirty="0">
                <a:solidFill>
                  <a:schemeClr val="accent4">
                    <a:lumMod val="50000"/>
                  </a:schemeClr>
                </a:solidFill>
              </a:rPr>
              <a:t>04</a:t>
            </a:r>
          </a:p>
        </p:txBody>
      </p:sp>
      <p:sp>
        <p:nvSpPr>
          <p:cNvPr id="52" name="Freeform 411">
            <a:extLst>
              <a:ext uri="{FF2B5EF4-FFF2-40B4-BE49-F238E27FC236}">
                <a16:creationId xmlns:a16="http://schemas.microsoft.com/office/drawing/2014/main" id="{57A9F913-0B89-47A5-BCCE-C3637C6AA003}"/>
              </a:ext>
            </a:extLst>
          </p:cNvPr>
          <p:cNvSpPr>
            <a:spLocks/>
          </p:cNvSpPr>
          <p:nvPr/>
        </p:nvSpPr>
        <p:spPr bwMode="auto">
          <a:xfrm>
            <a:off x="6654800" y="4747553"/>
            <a:ext cx="998538" cy="1149350"/>
          </a:xfrm>
          <a:custGeom>
            <a:avLst/>
            <a:gdLst>
              <a:gd name="T0" fmla="*/ 5 w 1887"/>
              <a:gd name="T1" fmla="*/ 539 h 2172"/>
              <a:gd name="T2" fmla="*/ 948 w 1887"/>
              <a:gd name="T3" fmla="*/ 0 h 2172"/>
              <a:gd name="T4" fmla="*/ 1887 w 1887"/>
              <a:gd name="T5" fmla="*/ 547 h 2172"/>
              <a:gd name="T6" fmla="*/ 1881 w 1887"/>
              <a:gd name="T7" fmla="*/ 1634 h 2172"/>
              <a:gd name="T8" fmla="*/ 938 w 1887"/>
              <a:gd name="T9" fmla="*/ 2172 h 2172"/>
              <a:gd name="T10" fmla="*/ 0 w 1887"/>
              <a:gd name="T11" fmla="*/ 1625 h 2172"/>
              <a:gd name="T12" fmla="*/ 5 w 1887"/>
              <a:gd name="T13" fmla="*/ 539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7" h="2172">
                <a:moveTo>
                  <a:pt x="5" y="539"/>
                </a:moveTo>
                <a:lnTo>
                  <a:pt x="948" y="0"/>
                </a:lnTo>
                <a:lnTo>
                  <a:pt x="1887" y="547"/>
                </a:lnTo>
                <a:lnTo>
                  <a:pt x="1881" y="1634"/>
                </a:lnTo>
                <a:lnTo>
                  <a:pt x="938" y="2172"/>
                </a:lnTo>
                <a:lnTo>
                  <a:pt x="0" y="1625"/>
                </a:lnTo>
                <a:lnTo>
                  <a:pt x="5" y="5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412">
            <a:extLst>
              <a:ext uri="{FF2B5EF4-FFF2-40B4-BE49-F238E27FC236}">
                <a16:creationId xmlns:a16="http://schemas.microsoft.com/office/drawing/2014/main" id="{15E6F505-3DDF-4B1E-BB09-42C7B9058DC9}"/>
              </a:ext>
            </a:extLst>
          </p:cNvPr>
          <p:cNvSpPr>
            <a:spLocks/>
          </p:cNvSpPr>
          <p:nvPr/>
        </p:nvSpPr>
        <p:spPr bwMode="auto">
          <a:xfrm>
            <a:off x="6654800" y="4747553"/>
            <a:ext cx="998538" cy="1149350"/>
          </a:xfrm>
          <a:custGeom>
            <a:avLst/>
            <a:gdLst>
              <a:gd name="T0" fmla="*/ 5 w 1887"/>
              <a:gd name="T1" fmla="*/ 539 h 2172"/>
              <a:gd name="T2" fmla="*/ 948 w 1887"/>
              <a:gd name="T3" fmla="*/ 0 h 2172"/>
              <a:gd name="T4" fmla="*/ 1887 w 1887"/>
              <a:gd name="T5" fmla="*/ 547 h 2172"/>
              <a:gd name="T6" fmla="*/ 1881 w 1887"/>
              <a:gd name="T7" fmla="*/ 1634 h 2172"/>
              <a:gd name="T8" fmla="*/ 938 w 1887"/>
              <a:gd name="T9" fmla="*/ 2172 h 2172"/>
              <a:gd name="T10" fmla="*/ 0 w 1887"/>
              <a:gd name="T11" fmla="*/ 1625 h 2172"/>
              <a:gd name="T12" fmla="*/ 5 w 1887"/>
              <a:gd name="T13" fmla="*/ 539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7" h="2172">
                <a:moveTo>
                  <a:pt x="5" y="539"/>
                </a:moveTo>
                <a:lnTo>
                  <a:pt x="948" y="0"/>
                </a:lnTo>
                <a:lnTo>
                  <a:pt x="1887" y="547"/>
                </a:lnTo>
                <a:lnTo>
                  <a:pt x="1881" y="1634"/>
                </a:lnTo>
                <a:lnTo>
                  <a:pt x="938" y="2172"/>
                </a:lnTo>
                <a:lnTo>
                  <a:pt x="0" y="1625"/>
                </a:lnTo>
                <a:lnTo>
                  <a:pt x="5" y="5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03</a:t>
            </a:r>
          </a:p>
        </p:txBody>
      </p:sp>
      <p:sp>
        <p:nvSpPr>
          <p:cNvPr id="54" name="Freeform 469">
            <a:extLst>
              <a:ext uri="{FF2B5EF4-FFF2-40B4-BE49-F238E27FC236}">
                <a16:creationId xmlns:a16="http://schemas.microsoft.com/office/drawing/2014/main" id="{4A51CA9C-33B7-4969-886C-703C54638302}"/>
              </a:ext>
            </a:extLst>
          </p:cNvPr>
          <p:cNvSpPr>
            <a:spLocks/>
          </p:cNvSpPr>
          <p:nvPr/>
        </p:nvSpPr>
        <p:spPr bwMode="auto">
          <a:xfrm>
            <a:off x="7410450" y="2818740"/>
            <a:ext cx="995363" cy="1149350"/>
          </a:xfrm>
          <a:custGeom>
            <a:avLst/>
            <a:gdLst>
              <a:gd name="T0" fmla="*/ 0 w 1882"/>
              <a:gd name="T1" fmla="*/ 544 h 2171"/>
              <a:gd name="T2" fmla="*/ 939 w 1882"/>
              <a:gd name="T3" fmla="*/ 0 h 2171"/>
              <a:gd name="T4" fmla="*/ 1880 w 1882"/>
              <a:gd name="T5" fmla="*/ 542 h 2171"/>
              <a:gd name="T6" fmla="*/ 1882 w 1882"/>
              <a:gd name="T7" fmla="*/ 1627 h 2171"/>
              <a:gd name="T8" fmla="*/ 942 w 1882"/>
              <a:gd name="T9" fmla="*/ 2171 h 2171"/>
              <a:gd name="T10" fmla="*/ 0 w 1882"/>
              <a:gd name="T11" fmla="*/ 1630 h 2171"/>
              <a:gd name="T12" fmla="*/ 0 w 1882"/>
              <a:gd name="T13" fmla="*/ 544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2" h="2171">
                <a:moveTo>
                  <a:pt x="0" y="544"/>
                </a:moveTo>
                <a:lnTo>
                  <a:pt x="939" y="0"/>
                </a:lnTo>
                <a:lnTo>
                  <a:pt x="1880" y="542"/>
                </a:lnTo>
                <a:lnTo>
                  <a:pt x="1882" y="1627"/>
                </a:lnTo>
                <a:lnTo>
                  <a:pt x="942" y="2171"/>
                </a:lnTo>
                <a:lnTo>
                  <a:pt x="0" y="1630"/>
                </a:lnTo>
                <a:lnTo>
                  <a:pt x="0" y="5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470">
            <a:extLst>
              <a:ext uri="{FF2B5EF4-FFF2-40B4-BE49-F238E27FC236}">
                <a16:creationId xmlns:a16="http://schemas.microsoft.com/office/drawing/2014/main" id="{CDE45E32-AF09-40C2-94C6-BA9CB312A195}"/>
              </a:ext>
            </a:extLst>
          </p:cNvPr>
          <p:cNvSpPr>
            <a:spLocks/>
          </p:cNvSpPr>
          <p:nvPr/>
        </p:nvSpPr>
        <p:spPr bwMode="auto">
          <a:xfrm>
            <a:off x="7410450" y="2818740"/>
            <a:ext cx="995363" cy="1149350"/>
          </a:xfrm>
          <a:custGeom>
            <a:avLst/>
            <a:gdLst>
              <a:gd name="T0" fmla="*/ 0 w 1882"/>
              <a:gd name="T1" fmla="*/ 544 h 2171"/>
              <a:gd name="T2" fmla="*/ 939 w 1882"/>
              <a:gd name="T3" fmla="*/ 0 h 2171"/>
              <a:gd name="T4" fmla="*/ 1880 w 1882"/>
              <a:gd name="T5" fmla="*/ 542 h 2171"/>
              <a:gd name="T6" fmla="*/ 1882 w 1882"/>
              <a:gd name="T7" fmla="*/ 1627 h 2171"/>
              <a:gd name="T8" fmla="*/ 942 w 1882"/>
              <a:gd name="T9" fmla="*/ 2171 h 2171"/>
              <a:gd name="T10" fmla="*/ 0 w 1882"/>
              <a:gd name="T11" fmla="*/ 1630 h 2171"/>
              <a:gd name="T12" fmla="*/ 0 w 1882"/>
              <a:gd name="T13" fmla="*/ 544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2" h="2171">
                <a:moveTo>
                  <a:pt x="0" y="544"/>
                </a:moveTo>
                <a:lnTo>
                  <a:pt x="939" y="0"/>
                </a:lnTo>
                <a:lnTo>
                  <a:pt x="1880" y="542"/>
                </a:lnTo>
                <a:lnTo>
                  <a:pt x="1882" y="1627"/>
                </a:lnTo>
                <a:lnTo>
                  <a:pt x="942" y="2171"/>
                </a:lnTo>
                <a:lnTo>
                  <a:pt x="0" y="1630"/>
                </a:lnTo>
                <a:lnTo>
                  <a:pt x="0" y="5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>
                <a:solidFill>
                  <a:schemeClr val="accent2">
                    <a:lumMod val="50000"/>
                  </a:schemeClr>
                </a:solidFill>
              </a:rPr>
              <a:t>02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5D13C720-1336-498E-A67C-3C86625FEF34}"/>
              </a:ext>
            </a:extLst>
          </p:cNvPr>
          <p:cNvSpPr>
            <a:spLocks/>
          </p:cNvSpPr>
          <p:nvPr/>
        </p:nvSpPr>
        <p:spPr bwMode="auto">
          <a:xfrm>
            <a:off x="5384800" y="4028414"/>
            <a:ext cx="711201" cy="536576"/>
          </a:xfrm>
          <a:custGeom>
            <a:avLst/>
            <a:gdLst>
              <a:gd name="connsiteX0" fmla="*/ 322734 w 711201"/>
              <a:gd name="connsiteY0" fmla="*/ 328613 h 536576"/>
              <a:gd name="connsiteX1" fmla="*/ 342818 w 711201"/>
              <a:gd name="connsiteY1" fmla="*/ 342974 h 536576"/>
              <a:gd name="connsiteX2" fmla="*/ 386157 w 711201"/>
              <a:gd name="connsiteY2" fmla="*/ 370099 h 536576"/>
              <a:gd name="connsiteX3" fmla="*/ 431082 w 711201"/>
              <a:gd name="connsiteY3" fmla="*/ 392970 h 536576"/>
              <a:gd name="connsiteX4" fmla="*/ 478650 w 711201"/>
              <a:gd name="connsiteY4" fmla="*/ 412649 h 536576"/>
              <a:gd name="connsiteX5" fmla="*/ 527274 w 711201"/>
              <a:gd name="connsiteY5" fmla="*/ 428606 h 536576"/>
              <a:gd name="connsiteX6" fmla="*/ 577484 w 711201"/>
              <a:gd name="connsiteY6" fmla="*/ 440839 h 536576"/>
              <a:gd name="connsiteX7" fmla="*/ 629280 w 711201"/>
              <a:gd name="connsiteY7" fmla="*/ 449349 h 536576"/>
              <a:gd name="connsiteX8" fmla="*/ 682132 w 711201"/>
              <a:gd name="connsiteY8" fmla="*/ 453072 h 536576"/>
              <a:gd name="connsiteX9" fmla="*/ 709087 w 711201"/>
              <a:gd name="connsiteY9" fmla="*/ 454136 h 536576"/>
              <a:gd name="connsiteX10" fmla="*/ 711201 w 711201"/>
              <a:gd name="connsiteY10" fmla="*/ 454136 h 536576"/>
              <a:gd name="connsiteX11" fmla="*/ 711201 w 711201"/>
              <a:gd name="connsiteY11" fmla="*/ 536576 h 536576"/>
              <a:gd name="connsiteX12" fmla="*/ 709087 w 711201"/>
              <a:gd name="connsiteY12" fmla="*/ 536576 h 536576"/>
              <a:gd name="connsiteX13" fmla="*/ 678433 w 711201"/>
              <a:gd name="connsiteY13" fmla="*/ 536576 h 536576"/>
              <a:gd name="connsiteX14" fmla="*/ 619238 w 711201"/>
              <a:gd name="connsiteY14" fmla="*/ 531257 h 536576"/>
              <a:gd name="connsiteX15" fmla="*/ 560571 w 711201"/>
              <a:gd name="connsiteY15" fmla="*/ 522216 h 536576"/>
              <a:gd name="connsiteX16" fmla="*/ 504547 w 711201"/>
              <a:gd name="connsiteY16" fmla="*/ 508387 h 536576"/>
              <a:gd name="connsiteX17" fmla="*/ 449581 w 711201"/>
              <a:gd name="connsiteY17" fmla="*/ 489771 h 536576"/>
              <a:gd name="connsiteX18" fmla="*/ 396199 w 711201"/>
              <a:gd name="connsiteY18" fmla="*/ 467964 h 536576"/>
              <a:gd name="connsiteX19" fmla="*/ 345989 w 711201"/>
              <a:gd name="connsiteY19" fmla="*/ 441902 h 536576"/>
              <a:gd name="connsiteX20" fmla="*/ 297365 w 711201"/>
              <a:gd name="connsiteY20" fmla="*/ 412117 h 536576"/>
              <a:gd name="connsiteX21" fmla="*/ 274638 w 711201"/>
              <a:gd name="connsiteY21" fmla="*/ 395629 h 536576"/>
              <a:gd name="connsiteX22" fmla="*/ 78445 w 711201"/>
              <a:gd name="connsiteY22" fmla="*/ 0 h 536576"/>
              <a:gd name="connsiteX23" fmla="*/ 87986 w 711201"/>
              <a:gd name="connsiteY23" fmla="*/ 24804 h 536576"/>
              <a:gd name="connsiteX24" fmla="*/ 108127 w 711201"/>
              <a:gd name="connsiteY24" fmla="*/ 73358 h 536576"/>
              <a:gd name="connsiteX25" fmla="*/ 131979 w 711201"/>
              <a:gd name="connsiteY25" fmla="*/ 119272 h 536576"/>
              <a:gd name="connsiteX26" fmla="*/ 160071 w 711201"/>
              <a:gd name="connsiteY26" fmla="*/ 163076 h 536576"/>
              <a:gd name="connsiteX27" fmla="*/ 190813 w 711201"/>
              <a:gd name="connsiteY27" fmla="*/ 204769 h 536576"/>
              <a:gd name="connsiteX28" fmla="*/ 225266 w 711201"/>
              <a:gd name="connsiteY28" fmla="*/ 243822 h 536576"/>
              <a:gd name="connsiteX29" fmla="*/ 261838 w 711201"/>
              <a:gd name="connsiteY29" fmla="*/ 280237 h 536576"/>
              <a:gd name="connsiteX30" fmla="*/ 301592 w 711201"/>
              <a:gd name="connsiteY30" fmla="*/ 313486 h 536576"/>
              <a:gd name="connsiteX31" fmla="*/ 322263 w 711201"/>
              <a:gd name="connsiteY31" fmla="*/ 328791 h 536576"/>
              <a:gd name="connsiteX32" fmla="*/ 274029 w 711201"/>
              <a:gd name="connsiteY32" fmla="*/ 395288 h 536576"/>
              <a:gd name="connsiteX33" fmla="*/ 250178 w 711201"/>
              <a:gd name="connsiteY33" fmla="*/ 377872 h 536576"/>
              <a:gd name="connsiteX34" fmla="*/ 205124 w 711201"/>
              <a:gd name="connsiteY34" fmla="*/ 340929 h 536576"/>
              <a:gd name="connsiteX35" fmla="*/ 164311 w 711201"/>
              <a:gd name="connsiteY35" fmla="*/ 299764 h 536576"/>
              <a:gd name="connsiteX36" fmla="*/ 126149 w 711201"/>
              <a:gd name="connsiteY36" fmla="*/ 255961 h 536576"/>
              <a:gd name="connsiteX37" fmla="*/ 90636 w 711201"/>
              <a:gd name="connsiteY37" fmla="*/ 209518 h 536576"/>
              <a:gd name="connsiteX38" fmla="*/ 60424 w 711201"/>
              <a:gd name="connsiteY38" fmla="*/ 159909 h 536576"/>
              <a:gd name="connsiteX39" fmla="*/ 32862 w 711201"/>
              <a:gd name="connsiteY39" fmla="*/ 107662 h 536576"/>
              <a:gd name="connsiteX40" fmla="*/ 10070 w 711201"/>
              <a:gd name="connsiteY40" fmla="*/ 53831 h 536576"/>
              <a:gd name="connsiteX41" fmla="*/ 0 w 711201"/>
              <a:gd name="connsiteY41" fmla="*/ 25860 h 53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11201" h="536576">
                <a:moveTo>
                  <a:pt x="322734" y="328613"/>
                </a:moveTo>
                <a:lnTo>
                  <a:pt x="342818" y="342974"/>
                </a:lnTo>
                <a:lnTo>
                  <a:pt x="386157" y="370099"/>
                </a:lnTo>
                <a:lnTo>
                  <a:pt x="431082" y="392970"/>
                </a:lnTo>
                <a:lnTo>
                  <a:pt x="478650" y="412649"/>
                </a:lnTo>
                <a:lnTo>
                  <a:pt x="527274" y="428606"/>
                </a:lnTo>
                <a:lnTo>
                  <a:pt x="577484" y="440839"/>
                </a:lnTo>
                <a:lnTo>
                  <a:pt x="629280" y="449349"/>
                </a:lnTo>
                <a:lnTo>
                  <a:pt x="682132" y="453072"/>
                </a:lnTo>
                <a:lnTo>
                  <a:pt x="709087" y="454136"/>
                </a:lnTo>
                <a:lnTo>
                  <a:pt x="711201" y="454136"/>
                </a:lnTo>
                <a:lnTo>
                  <a:pt x="711201" y="536576"/>
                </a:lnTo>
                <a:lnTo>
                  <a:pt x="709087" y="536576"/>
                </a:lnTo>
                <a:lnTo>
                  <a:pt x="678433" y="536576"/>
                </a:lnTo>
                <a:lnTo>
                  <a:pt x="619238" y="531257"/>
                </a:lnTo>
                <a:lnTo>
                  <a:pt x="560571" y="522216"/>
                </a:lnTo>
                <a:lnTo>
                  <a:pt x="504547" y="508387"/>
                </a:lnTo>
                <a:lnTo>
                  <a:pt x="449581" y="489771"/>
                </a:lnTo>
                <a:lnTo>
                  <a:pt x="396199" y="467964"/>
                </a:lnTo>
                <a:lnTo>
                  <a:pt x="345989" y="441902"/>
                </a:lnTo>
                <a:lnTo>
                  <a:pt x="297365" y="412117"/>
                </a:lnTo>
                <a:lnTo>
                  <a:pt x="274638" y="395629"/>
                </a:lnTo>
                <a:close/>
                <a:moveTo>
                  <a:pt x="78445" y="0"/>
                </a:moveTo>
                <a:lnTo>
                  <a:pt x="87986" y="24804"/>
                </a:lnTo>
                <a:lnTo>
                  <a:pt x="108127" y="73358"/>
                </a:lnTo>
                <a:lnTo>
                  <a:pt x="131979" y="119272"/>
                </a:lnTo>
                <a:lnTo>
                  <a:pt x="160071" y="163076"/>
                </a:lnTo>
                <a:lnTo>
                  <a:pt x="190813" y="204769"/>
                </a:lnTo>
                <a:lnTo>
                  <a:pt x="225266" y="243822"/>
                </a:lnTo>
                <a:lnTo>
                  <a:pt x="261838" y="280237"/>
                </a:lnTo>
                <a:lnTo>
                  <a:pt x="301592" y="313486"/>
                </a:lnTo>
                <a:lnTo>
                  <a:pt x="322263" y="328791"/>
                </a:lnTo>
                <a:lnTo>
                  <a:pt x="274029" y="395288"/>
                </a:lnTo>
                <a:lnTo>
                  <a:pt x="250178" y="377872"/>
                </a:lnTo>
                <a:lnTo>
                  <a:pt x="205124" y="340929"/>
                </a:lnTo>
                <a:lnTo>
                  <a:pt x="164311" y="299764"/>
                </a:lnTo>
                <a:lnTo>
                  <a:pt x="126149" y="255961"/>
                </a:lnTo>
                <a:lnTo>
                  <a:pt x="90636" y="209518"/>
                </a:lnTo>
                <a:lnTo>
                  <a:pt x="60424" y="159909"/>
                </a:lnTo>
                <a:lnTo>
                  <a:pt x="32862" y="107662"/>
                </a:lnTo>
                <a:lnTo>
                  <a:pt x="10070" y="53831"/>
                </a:lnTo>
                <a:lnTo>
                  <a:pt x="0" y="258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61F07E17-1E6C-41FB-AE20-A0A60B8051FE}"/>
              </a:ext>
            </a:extLst>
          </p:cNvPr>
          <p:cNvSpPr/>
          <p:nvPr/>
        </p:nvSpPr>
        <p:spPr>
          <a:xfrm>
            <a:off x="5423916" y="3144118"/>
            <a:ext cx="1344168" cy="13441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B0B12F99-B828-4337-84FC-885900606E97}"/>
              </a:ext>
            </a:extLst>
          </p:cNvPr>
          <p:cNvSpPr/>
          <p:nvPr/>
        </p:nvSpPr>
        <p:spPr>
          <a:xfrm rot="1798420">
            <a:off x="4431102" y="2417859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C81BE6F-0CD7-4404-A09A-956E2EA99AB3}"/>
              </a:ext>
            </a:extLst>
          </p:cNvPr>
          <p:cNvSpPr/>
          <p:nvPr/>
        </p:nvSpPr>
        <p:spPr>
          <a:xfrm>
            <a:off x="4653396" y="2012290"/>
            <a:ext cx="731404" cy="675329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84170DB-1944-46EF-B877-EB2CD8BAE1F7}"/>
              </a:ext>
            </a:extLst>
          </p:cNvPr>
          <p:cNvSpPr/>
          <p:nvPr/>
        </p:nvSpPr>
        <p:spPr>
          <a:xfrm>
            <a:off x="6779460" y="1828385"/>
            <a:ext cx="731404" cy="675329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21C550F-D9E9-46DA-8068-EF06597575C1}"/>
              </a:ext>
            </a:extLst>
          </p:cNvPr>
          <p:cNvSpPr/>
          <p:nvPr/>
        </p:nvSpPr>
        <p:spPr>
          <a:xfrm>
            <a:off x="5744153" y="5260408"/>
            <a:ext cx="731404" cy="675329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8B4462EA-6255-4A1E-86FE-7EA14FED7B04}"/>
              </a:ext>
            </a:extLst>
          </p:cNvPr>
          <p:cNvSpPr/>
          <p:nvPr/>
        </p:nvSpPr>
        <p:spPr>
          <a:xfrm rot="19809271">
            <a:off x="4106339" y="4329605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077AB386-6220-4B03-B9E5-564A72320228}"/>
              </a:ext>
            </a:extLst>
          </p:cNvPr>
          <p:cNvSpPr/>
          <p:nvPr/>
        </p:nvSpPr>
        <p:spPr>
          <a:xfrm rot="19809271">
            <a:off x="3805383" y="4105636"/>
            <a:ext cx="1372157" cy="545142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E7260B7-70BD-423F-949E-BA7D80F4EF6C}"/>
              </a:ext>
            </a:extLst>
          </p:cNvPr>
          <p:cNvSpPr/>
          <p:nvPr/>
        </p:nvSpPr>
        <p:spPr>
          <a:xfrm>
            <a:off x="6917553" y="2098012"/>
            <a:ext cx="688878" cy="636066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id="{35CB1B3E-032E-47D6-8193-ABB7A177CB28}"/>
              </a:ext>
            </a:extLst>
          </p:cNvPr>
          <p:cNvSpPr/>
          <p:nvPr/>
        </p:nvSpPr>
        <p:spPr>
          <a:xfrm rot="12220840">
            <a:off x="7446516" y="4154791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78C6C3A6-543C-4D29-8DB7-BAA9BDB36563}"/>
              </a:ext>
            </a:extLst>
          </p:cNvPr>
          <p:cNvSpPr/>
          <p:nvPr/>
        </p:nvSpPr>
        <p:spPr>
          <a:xfrm rot="12220840">
            <a:off x="7284561" y="4318285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7" name="Graphic 86" descr="Man">
            <a:extLst>
              <a:ext uri="{FF2B5EF4-FFF2-40B4-BE49-F238E27FC236}">
                <a16:creationId xmlns:a16="http://schemas.microsoft.com/office/drawing/2014/main" id="{A1731776-34BB-4351-AECC-72D56EFB65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35761" y="3283020"/>
            <a:ext cx="1062683" cy="1062683"/>
          </a:xfrm>
          <a:prstGeom prst="rect">
            <a:avLst/>
          </a:prstGeom>
        </p:spPr>
      </p:pic>
      <p:sp>
        <p:nvSpPr>
          <p:cNvPr id="58" name="Title 6">
            <a:extLst>
              <a:ext uri="{FF2B5EF4-FFF2-40B4-BE49-F238E27FC236}">
                <a16:creationId xmlns:a16="http://schemas.microsoft.com/office/drawing/2014/main" id="{686261E9-781E-4184-B6D1-100600A388ED}"/>
              </a:ext>
            </a:extLst>
          </p:cNvPr>
          <p:cNvSpPr txBox="1">
            <a:spLocks/>
          </p:cNvSpPr>
          <p:nvPr/>
        </p:nvSpPr>
        <p:spPr>
          <a:xfrm>
            <a:off x="2043724" y="-60367"/>
            <a:ext cx="8046756" cy="1216152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66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IMPROVEMENTS</a:t>
            </a:r>
            <a:endParaRPr lang="en-GB" sz="6600" dirty="0">
              <a:solidFill>
                <a:schemeClr val="bg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39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3" grpId="0"/>
      <p:bldP spid="66" grpId="0"/>
      <p:bldP spid="69" grpId="0"/>
      <p:bldP spid="7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2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972220C8-BD63-4E6D-B2B7-C759B88136DE}"/>
              </a:ext>
            </a:extLst>
          </p:cNvPr>
          <p:cNvSpPr txBox="1">
            <a:spLocks/>
          </p:cNvSpPr>
          <p:nvPr/>
        </p:nvSpPr>
        <p:spPr>
          <a:xfrm>
            <a:off x="355600" y="114300"/>
            <a:ext cx="11480800" cy="47625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15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HANK </a:t>
            </a:r>
          </a:p>
          <a:p>
            <a:pPr algn="ctr"/>
            <a:r>
              <a:rPr lang="en-US" sz="11500" dirty="0">
                <a:solidFill>
                  <a:srgbClr val="F8694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YOU</a:t>
            </a:r>
            <a:endParaRPr lang="en-GB" sz="11500" dirty="0">
              <a:solidFill>
                <a:srgbClr val="F8694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CFD6CE61-2688-4445-8CA8-F27A89129535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28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EAM</a:t>
            </a:r>
          </a:p>
          <a:p>
            <a:pPr algn="ctr"/>
            <a:r>
              <a:rPr lang="en-GB" sz="2800" dirty="0">
                <a:solidFill>
                  <a:srgbClr val="F8694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INEAR DIGRESSORS</a:t>
            </a:r>
          </a:p>
        </p:txBody>
      </p:sp>
    </p:spTree>
    <p:extLst>
      <p:ext uri="{BB962C8B-B14F-4D97-AF65-F5344CB8AC3E}">
        <p14:creationId xmlns:p14="http://schemas.microsoft.com/office/powerpoint/2010/main" val="1582336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BE&quot; g=&quot;78&quot; b=&quot;8E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Amuthan G\Documents\WIP\07 Nov\Etihad Aviation Group_CF_AE0224.po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tihad Aviation Group_CF_AE0224">
  <a:themeElements>
    <a:clrScheme name="Decathl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2B5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4</Words>
  <Application>Microsoft Office PowerPoint</Application>
  <PresentationFormat>Widescreen</PresentationFormat>
  <Paragraphs>45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BwModelica-BlackCondensed</vt:lpstr>
      <vt:lpstr>BwModelica-RegularCondensed</vt:lpstr>
      <vt:lpstr>BwModelicaSS01-BoldCondensed</vt:lpstr>
      <vt:lpstr>Calibri</vt:lpstr>
      <vt:lpstr>Open Sans</vt:lpstr>
      <vt:lpstr>Titillium</vt:lpstr>
      <vt:lpstr>Etihad Aviation Group_CF_AE0224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7-03T03:53:27Z</dcterms:created>
  <dcterms:modified xsi:type="dcterms:W3CDTF">2019-04-07T16:51:59Z</dcterms:modified>
  <cp:category/>
  <cp:contentStatus/>
  <dc:language/>
  <cp:version/>
</cp:coreProperties>
</file>